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93" r:id="rId5"/>
  </p:sldMasterIdLst>
  <p:notesMasterIdLst>
    <p:notesMasterId r:id="rId30"/>
  </p:notesMasterIdLst>
  <p:sldIdLst>
    <p:sldId id="265" r:id="rId6"/>
    <p:sldId id="276" r:id="rId7"/>
    <p:sldId id="318" r:id="rId8"/>
    <p:sldId id="307" r:id="rId9"/>
    <p:sldId id="308" r:id="rId10"/>
    <p:sldId id="309" r:id="rId11"/>
    <p:sldId id="304" r:id="rId12"/>
    <p:sldId id="311" r:id="rId13"/>
    <p:sldId id="314" r:id="rId14"/>
    <p:sldId id="321" r:id="rId15"/>
    <p:sldId id="315" r:id="rId16"/>
    <p:sldId id="325" r:id="rId17"/>
    <p:sldId id="312" r:id="rId18"/>
    <p:sldId id="328" r:id="rId19"/>
    <p:sldId id="323" r:id="rId20"/>
    <p:sldId id="313" r:id="rId21"/>
    <p:sldId id="322" r:id="rId22"/>
    <p:sldId id="329" r:id="rId23"/>
    <p:sldId id="317" r:id="rId24"/>
    <p:sldId id="324" r:id="rId25"/>
    <p:sldId id="330" r:id="rId26"/>
    <p:sldId id="327" r:id="rId27"/>
    <p:sldId id="310" r:id="rId28"/>
    <p:sldId id="284" r:id="rId29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C3FD7A7-0080-A7A4-7C98-A22607060F0C}" name="Ilona Pols" initials="IP" userId="S::ipols@vosko.nl::66542220-73f0-4253-bf8a-f396b91d0ba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83154"/>
    <a:srgbClr val="048BEC"/>
    <a:srgbClr val="218BD7"/>
    <a:srgbClr val="4C7487"/>
    <a:srgbClr val="CC0000"/>
    <a:srgbClr val="858698"/>
    <a:srgbClr val="4F4E5C"/>
    <a:srgbClr val="73707F"/>
    <a:srgbClr val="818185"/>
    <a:srgbClr val="0541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7F0B29-B03E-4496-9819-7C88D8FE616B}" v="4" dt="2023-09-20T14:45:43.81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37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notesMaster" Target="notesMasters/notesMaster1.xml"/><Relationship Id="rId35" Type="http://schemas.microsoft.com/office/2016/11/relationships/changesInfo" Target="changesInfos/changesInfo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ck van 't Spijker" userId="05a3d4c8-0c7e-4bd4-a89b-7182dd0df68e" providerId="ADAL" clId="{3FE1EEDF-1029-4F49-A876-3837C22C3E1F}"/>
    <pc:docChg chg="sldOrd">
      <pc:chgData name="Rick van 't Spijker" userId="05a3d4c8-0c7e-4bd4-a89b-7182dd0df68e" providerId="ADAL" clId="{3FE1EEDF-1029-4F49-A876-3837C22C3E1F}" dt="2023-09-07T13:57:27.761" v="0" actId="20578"/>
      <pc:docMkLst>
        <pc:docMk/>
      </pc:docMkLst>
      <pc:sldChg chg="ord">
        <pc:chgData name="Rick van 't Spijker" userId="05a3d4c8-0c7e-4bd4-a89b-7182dd0df68e" providerId="ADAL" clId="{3FE1EEDF-1029-4F49-A876-3837C22C3E1F}" dt="2023-09-07T13:57:27.761" v="0" actId="20578"/>
        <pc:sldMkLst>
          <pc:docMk/>
          <pc:sldMk cId="3749343502" sldId="273"/>
        </pc:sldMkLst>
      </pc:sldChg>
    </pc:docChg>
  </pc:docChgLst>
  <pc:docChgLst>
    <pc:chgData name="Léonie Scheerder" userId="a2ffcb11-fd79-43ac-abc2-179ae41a45ab" providerId="ADAL" clId="{22946D02-53BD-4F47-A802-90F068CEA9F6}"/>
    <pc:docChg chg="sldOrd">
      <pc:chgData name="Léonie Scheerder" userId="a2ffcb11-fd79-43ac-abc2-179ae41a45ab" providerId="ADAL" clId="{22946D02-53BD-4F47-A802-90F068CEA9F6}" dt="2023-09-04T12:36:10.183" v="0" actId="20578"/>
      <pc:docMkLst>
        <pc:docMk/>
      </pc:docMkLst>
      <pc:sldChg chg="ord">
        <pc:chgData name="Léonie Scheerder" userId="a2ffcb11-fd79-43ac-abc2-179ae41a45ab" providerId="ADAL" clId="{22946D02-53BD-4F47-A802-90F068CEA9F6}" dt="2023-09-04T12:36:10.183" v="0" actId="20578"/>
        <pc:sldMkLst>
          <pc:docMk/>
          <pc:sldMk cId="3024384372" sldId="259"/>
        </pc:sldMkLst>
      </pc:sldChg>
    </pc:docChg>
  </pc:docChgLst>
  <pc:docChgLst>
    <pc:chgData name="Jeffrey den Oudsten" userId="43acc0ae-d90b-4d72-8522-1097c52dad69" providerId="ADAL" clId="{847AE83A-0818-479D-B5CF-637E791B025B}"/>
    <pc:docChg chg="delSld">
      <pc:chgData name="Jeffrey den Oudsten" userId="43acc0ae-d90b-4d72-8522-1097c52dad69" providerId="ADAL" clId="{847AE83A-0818-479D-B5CF-637E791B025B}" dt="2023-08-22T12:33:21.300" v="0" actId="47"/>
      <pc:docMkLst>
        <pc:docMk/>
      </pc:docMkLst>
      <pc:sldChg chg="del">
        <pc:chgData name="Jeffrey den Oudsten" userId="43acc0ae-d90b-4d72-8522-1097c52dad69" providerId="ADAL" clId="{847AE83A-0818-479D-B5CF-637E791B025B}" dt="2023-08-22T12:33:21.300" v="0" actId="47"/>
        <pc:sldMkLst>
          <pc:docMk/>
          <pc:sldMk cId="2600386781" sldId="258"/>
        </pc:sldMkLst>
      </pc:sldChg>
      <pc:sldChg chg="del">
        <pc:chgData name="Jeffrey den Oudsten" userId="43acc0ae-d90b-4d72-8522-1097c52dad69" providerId="ADAL" clId="{847AE83A-0818-479D-B5CF-637E791B025B}" dt="2023-08-22T12:33:21.300" v="0" actId="47"/>
        <pc:sldMkLst>
          <pc:docMk/>
          <pc:sldMk cId="3755051467" sldId="264"/>
        </pc:sldMkLst>
      </pc:sldChg>
      <pc:sldChg chg="del">
        <pc:chgData name="Jeffrey den Oudsten" userId="43acc0ae-d90b-4d72-8522-1097c52dad69" providerId="ADAL" clId="{847AE83A-0818-479D-B5CF-637E791B025B}" dt="2023-08-22T12:33:21.300" v="0" actId="47"/>
        <pc:sldMkLst>
          <pc:docMk/>
          <pc:sldMk cId="2136427836" sldId="292"/>
        </pc:sldMkLst>
      </pc:sldChg>
      <pc:sldChg chg="del">
        <pc:chgData name="Jeffrey den Oudsten" userId="43acc0ae-d90b-4d72-8522-1097c52dad69" providerId="ADAL" clId="{847AE83A-0818-479D-B5CF-637E791B025B}" dt="2023-08-22T12:33:21.300" v="0" actId="47"/>
        <pc:sldMkLst>
          <pc:docMk/>
          <pc:sldMk cId="2193205460" sldId="312"/>
        </pc:sldMkLst>
      </pc:sldChg>
      <pc:sldChg chg="del">
        <pc:chgData name="Jeffrey den Oudsten" userId="43acc0ae-d90b-4d72-8522-1097c52dad69" providerId="ADAL" clId="{847AE83A-0818-479D-B5CF-637E791B025B}" dt="2023-08-22T12:33:21.300" v="0" actId="47"/>
        <pc:sldMkLst>
          <pc:docMk/>
          <pc:sldMk cId="2573198258" sldId="314"/>
        </pc:sldMkLst>
      </pc:sldChg>
      <pc:sldChg chg="del">
        <pc:chgData name="Jeffrey den Oudsten" userId="43acc0ae-d90b-4d72-8522-1097c52dad69" providerId="ADAL" clId="{847AE83A-0818-479D-B5CF-637E791B025B}" dt="2023-08-22T12:33:21.300" v="0" actId="47"/>
        <pc:sldMkLst>
          <pc:docMk/>
          <pc:sldMk cId="3268911916" sldId="315"/>
        </pc:sldMkLst>
      </pc:sldChg>
      <pc:sldChg chg="del">
        <pc:chgData name="Jeffrey den Oudsten" userId="43acc0ae-d90b-4d72-8522-1097c52dad69" providerId="ADAL" clId="{847AE83A-0818-479D-B5CF-637E791B025B}" dt="2023-08-22T12:33:21.300" v="0" actId="47"/>
        <pc:sldMkLst>
          <pc:docMk/>
          <pc:sldMk cId="1822596089" sldId="316"/>
        </pc:sldMkLst>
      </pc:sldChg>
      <pc:sldChg chg="del">
        <pc:chgData name="Jeffrey den Oudsten" userId="43acc0ae-d90b-4d72-8522-1097c52dad69" providerId="ADAL" clId="{847AE83A-0818-479D-B5CF-637E791B025B}" dt="2023-08-22T12:33:21.300" v="0" actId="47"/>
        <pc:sldMkLst>
          <pc:docMk/>
          <pc:sldMk cId="3802531930" sldId="317"/>
        </pc:sldMkLst>
      </pc:sldChg>
      <pc:sldChg chg="del">
        <pc:chgData name="Jeffrey den Oudsten" userId="43acc0ae-d90b-4d72-8522-1097c52dad69" providerId="ADAL" clId="{847AE83A-0818-479D-B5CF-637E791B025B}" dt="2023-08-22T12:33:21.300" v="0" actId="47"/>
        <pc:sldMkLst>
          <pc:docMk/>
          <pc:sldMk cId="1483574019" sldId="318"/>
        </pc:sldMkLst>
      </pc:sldChg>
      <pc:sldChg chg="del">
        <pc:chgData name="Jeffrey den Oudsten" userId="43acc0ae-d90b-4d72-8522-1097c52dad69" providerId="ADAL" clId="{847AE83A-0818-479D-B5CF-637E791B025B}" dt="2023-08-22T12:33:21.300" v="0" actId="47"/>
        <pc:sldMkLst>
          <pc:docMk/>
          <pc:sldMk cId="3262483221" sldId="319"/>
        </pc:sldMkLst>
      </pc:sldChg>
    </pc:docChg>
  </pc:docChgLst>
  <pc:docChgLst>
    <pc:chgData name="Ilona Pols" userId="66542220-73f0-4253-bf8a-f396b91d0ba8" providerId="ADAL" clId="{3E7F0B29-B03E-4496-9819-7C88D8FE616B}"/>
    <pc:docChg chg="delSld modSld">
      <pc:chgData name="Ilona Pols" userId="66542220-73f0-4253-bf8a-f396b91d0ba8" providerId="ADAL" clId="{3E7F0B29-B03E-4496-9819-7C88D8FE616B}" dt="2023-09-20T14:45:43.810" v="3"/>
      <pc:docMkLst>
        <pc:docMk/>
      </pc:docMkLst>
      <pc:sldChg chg="modSp mod">
        <pc:chgData name="Ilona Pols" userId="66542220-73f0-4253-bf8a-f396b91d0ba8" providerId="ADAL" clId="{3E7F0B29-B03E-4496-9819-7C88D8FE616B}" dt="2023-09-20T14:37:48.574" v="1" actId="6549"/>
        <pc:sldMkLst>
          <pc:docMk/>
          <pc:sldMk cId="2236159457" sldId="265"/>
        </pc:sldMkLst>
        <pc:spChg chg="mod">
          <ac:chgData name="Ilona Pols" userId="66542220-73f0-4253-bf8a-f396b91d0ba8" providerId="ADAL" clId="{3E7F0B29-B03E-4496-9819-7C88D8FE616B}" dt="2023-09-20T14:37:48.574" v="1" actId="6549"/>
          <ac:spMkLst>
            <pc:docMk/>
            <pc:sldMk cId="2236159457" sldId="265"/>
            <ac:spMk id="13" creationId="{BB804D66-E3EF-A2B4-1629-47B58E3F5ECA}"/>
          </ac:spMkLst>
        </pc:spChg>
      </pc:sldChg>
      <pc:sldChg chg="del">
        <pc:chgData name="Ilona Pols" userId="66542220-73f0-4253-bf8a-f396b91d0ba8" providerId="ADAL" clId="{3E7F0B29-B03E-4496-9819-7C88D8FE616B}" dt="2023-09-20T14:14:17.473" v="0" actId="47"/>
        <pc:sldMkLst>
          <pc:docMk/>
          <pc:sldMk cId="1797636521" sldId="271"/>
        </pc:sldMkLst>
      </pc:sldChg>
      <pc:sldChg chg="addSp modSp">
        <pc:chgData name="Ilona Pols" userId="66542220-73f0-4253-bf8a-f396b91d0ba8" providerId="ADAL" clId="{3E7F0B29-B03E-4496-9819-7C88D8FE616B}" dt="2023-09-20T14:45:43.810" v="3"/>
        <pc:sldMkLst>
          <pc:docMk/>
          <pc:sldMk cId="1483250515" sldId="324"/>
        </pc:sldMkLst>
        <pc:picChg chg="add mod">
          <ac:chgData name="Ilona Pols" userId="66542220-73f0-4253-bf8a-f396b91d0ba8" providerId="ADAL" clId="{3E7F0B29-B03E-4496-9819-7C88D8FE616B}" dt="2023-09-20T14:45:43.810" v="3"/>
          <ac:picMkLst>
            <pc:docMk/>
            <pc:sldMk cId="1483250515" sldId="324"/>
            <ac:picMk id="3" creationId="{CBEE367F-CB67-1B60-0BE0-A2FEB252A1B2}"/>
          </ac:picMkLst>
        </pc:picChg>
      </pc:sldChg>
      <pc:sldChg chg="del">
        <pc:chgData name="Ilona Pols" userId="66542220-73f0-4253-bf8a-f396b91d0ba8" providerId="ADAL" clId="{3E7F0B29-B03E-4496-9819-7C88D8FE616B}" dt="2023-09-20T14:39:42.811" v="2" actId="47"/>
        <pc:sldMkLst>
          <pc:docMk/>
          <pc:sldMk cId="4066749886" sldId="331"/>
        </pc:sldMkLst>
      </pc:sldChg>
    </pc:docChg>
  </pc:docChgLst>
  <pc:docChgLst>
    <pc:chgData name="Rick van 't Spijker" userId="05a3d4c8-0c7e-4bd4-a89b-7182dd0df68e" providerId="ADAL" clId="{53829226-38AD-431A-BCF5-4D5FFBF610E4}"/>
    <pc:docChg chg="undo custSel modSld modMainMaster">
      <pc:chgData name="Rick van 't Spijker" userId="05a3d4c8-0c7e-4bd4-a89b-7182dd0df68e" providerId="ADAL" clId="{53829226-38AD-431A-BCF5-4D5FFBF610E4}" dt="2023-09-19T13:25:44.779" v="423"/>
      <pc:docMkLst>
        <pc:docMk/>
      </pc:docMkLst>
      <pc:sldChg chg="modAnim">
        <pc:chgData name="Rick van 't Spijker" userId="05a3d4c8-0c7e-4bd4-a89b-7182dd0df68e" providerId="ADAL" clId="{53829226-38AD-431A-BCF5-4D5FFBF610E4}" dt="2023-09-19T13:05:26.158" v="89"/>
        <pc:sldMkLst>
          <pc:docMk/>
          <pc:sldMk cId="3218978393" sldId="304"/>
        </pc:sldMkLst>
      </pc:sldChg>
      <pc:sldChg chg="modAnim">
        <pc:chgData name="Rick van 't Spijker" userId="05a3d4c8-0c7e-4bd4-a89b-7182dd0df68e" providerId="ADAL" clId="{53829226-38AD-431A-BCF5-4D5FFBF610E4}" dt="2023-09-19T13:05:26.158" v="89"/>
        <pc:sldMkLst>
          <pc:docMk/>
          <pc:sldMk cId="231572620" sldId="305"/>
        </pc:sldMkLst>
      </pc:sldChg>
      <pc:sldChg chg="modSp mod">
        <pc:chgData name="Rick van 't Spijker" userId="05a3d4c8-0c7e-4bd4-a89b-7182dd0df68e" providerId="ADAL" clId="{53829226-38AD-431A-BCF5-4D5FFBF610E4}" dt="2023-09-19T13:03:25.164" v="54" actId="20577"/>
        <pc:sldMkLst>
          <pc:docMk/>
          <pc:sldMk cId="3526199025" sldId="307"/>
        </pc:sldMkLst>
        <pc:spChg chg="mod">
          <ac:chgData name="Rick van 't Spijker" userId="05a3d4c8-0c7e-4bd4-a89b-7182dd0df68e" providerId="ADAL" clId="{53829226-38AD-431A-BCF5-4D5FFBF610E4}" dt="2023-09-19T13:03:25.164" v="54" actId="20577"/>
          <ac:spMkLst>
            <pc:docMk/>
            <pc:sldMk cId="3526199025" sldId="307"/>
            <ac:spMk id="7" creationId="{0E637D7B-6175-3B3F-0A7E-8121021FDE90}"/>
          </ac:spMkLst>
        </pc:spChg>
      </pc:sldChg>
      <pc:sldChg chg="modSp mod">
        <pc:chgData name="Rick van 't Spijker" userId="05a3d4c8-0c7e-4bd4-a89b-7182dd0df68e" providerId="ADAL" clId="{53829226-38AD-431A-BCF5-4D5FFBF610E4}" dt="2023-09-19T13:03:33.224" v="55"/>
        <pc:sldMkLst>
          <pc:docMk/>
          <pc:sldMk cId="3765552852" sldId="308"/>
        </pc:sldMkLst>
        <pc:spChg chg="mod">
          <ac:chgData name="Rick van 't Spijker" userId="05a3d4c8-0c7e-4bd4-a89b-7182dd0df68e" providerId="ADAL" clId="{53829226-38AD-431A-BCF5-4D5FFBF610E4}" dt="2023-09-19T13:03:33.224" v="55"/>
          <ac:spMkLst>
            <pc:docMk/>
            <pc:sldMk cId="3765552852" sldId="308"/>
            <ac:spMk id="7" creationId="{0E637D7B-6175-3B3F-0A7E-8121021FDE90}"/>
          </ac:spMkLst>
        </pc:spChg>
      </pc:sldChg>
      <pc:sldChg chg="modSp mod">
        <pc:chgData name="Rick van 't Spijker" userId="05a3d4c8-0c7e-4bd4-a89b-7182dd0df68e" providerId="ADAL" clId="{53829226-38AD-431A-BCF5-4D5FFBF610E4}" dt="2023-09-19T13:04:37.930" v="87" actId="14100"/>
        <pc:sldMkLst>
          <pc:docMk/>
          <pc:sldMk cId="3854969038" sldId="309"/>
        </pc:sldMkLst>
        <pc:spChg chg="mod">
          <ac:chgData name="Rick van 't Spijker" userId="05a3d4c8-0c7e-4bd4-a89b-7182dd0df68e" providerId="ADAL" clId="{53829226-38AD-431A-BCF5-4D5FFBF610E4}" dt="2023-09-19T13:04:26.447" v="85" actId="20577"/>
          <ac:spMkLst>
            <pc:docMk/>
            <pc:sldMk cId="3854969038" sldId="309"/>
            <ac:spMk id="3" creationId="{CA0B29AC-1CA6-44A9-278A-1998F580CCBF}"/>
          </ac:spMkLst>
        </pc:spChg>
        <pc:picChg chg="mod">
          <ac:chgData name="Rick van 't Spijker" userId="05a3d4c8-0c7e-4bd4-a89b-7182dd0df68e" providerId="ADAL" clId="{53829226-38AD-431A-BCF5-4D5FFBF610E4}" dt="2023-09-19T13:04:37.930" v="87" actId="14100"/>
          <ac:picMkLst>
            <pc:docMk/>
            <pc:sldMk cId="3854969038" sldId="309"/>
            <ac:picMk id="4" creationId="{6A7588F4-51C1-2266-88D8-36202B5F82AE}"/>
          </ac:picMkLst>
        </pc:picChg>
      </pc:sldChg>
      <pc:sldChg chg="addSp delSp modSp mod modAnim chgLayout">
        <pc:chgData name="Rick van 't Spijker" userId="05a3d4c8-0c7e-4bd4-a89b-7182dd0df68e" providerId="ADAL" clId="{53829226-38AD-431A-BCF5-4D5FFBF610E4}" dt="2023-09-19T13:15:45.477" v="364"/>
        <pc:sldMkLst>
          <pc:docMk/>
          <pc:sldMk cId="3984738813" sldId="310"/>
        </pc:sldMkLst>
        <pc:spChg chg="mod ord">
          <ac:chgData name="Rick van 't Spijker" userId="05a3d4c8-0c7e-4bd4-a89b-7182dd0df68e" providerId="ADAL" clId="{53829226-38AD-431A-BCF5-4D5FFBF610E4}" dt="2023-09-19T13:11:00.517" v="158" actId="700"/>
          <ac:spMkLst>
            <pc:docMk/>
            <pc:sldMk cId="3984738813" sldId="310"/>
            <ac:spMk id="6" creationId="{E51B649E-1CA9-2851-3927-E936AD1E73C9}"/>
          </ac:spMkLst>
        </pc:spChg>
        <pc:spChg chg="add mod ord">
          <ac:chgData name="Rick van 't Spijker" userId="05a3d4c8-0c7e-4bd4-a89b-7182dd0df68e" providerId="ADAL" clId="{53829226-38AD-431A-BCF5-4D5FFBF610E4}" dt="2023-09-19T13:12:11.454" v="309" actId="403"/>
          <ac:spMkLst>
            <pc:docMk/>
            <pc:sldMk cId="3984738813" sldId="310"/>
            <ac:spMk id="7" creationId="{C2CE73FB-A2EC-DF36-E3F0-F8D986B2678C}"/>
          </ac:spMkLst>
        </pc:spChg>
        <pc:spChg chg="add mod ord">
          <ac:chgData name="Rick van 't Spijker" userId="05a3d4c8-0c7e-4bd4-a89b-7182dd0df68e" providerId="ADAL" clId="{53829226-38AD-431A-BCF5-4D5FFBF610E4}" dt="2023-09-19T13:14:51.148" v="333" actId="1582"/>
          <ac:spMkLst>
            <pc:docMk/>
            <pc:sldMk cId="3984738813" sldId="310"/>
            <ac:spMk id="8" creationId="{A2B35B95-9A17-5769-7190-22C3F8293B59}"/>
          </ac:spMkLst>
        </pc:spChg>
        <pc:spChg chg="add mod">
          <ac:chgData name="Rick van 't Spijker" userId="05a3d4c8-0c7e-4bd4-a89b-7182dd0df68e" providerId="ADAL" clId="{53829226-38AD-431A-BCF5-4D5FFBF610E4}" dt="2023-09-19T13:15:21.130" v="363" actId="1076"/>
          <ac:spMkLst>
            <pc:docMk/>
            <pc:sldMk cId="3984738813" sldId="310"/>
            <ac:spMk id="9" creationId="{53272A49-7375-1F8C-4A80-DB0A692114EB}"/>
          </ac:spMkLst>
        </pc:spChg>
        <pc:picChg chg="del">
          <ac:chgData name="Rick van 't Spijker" userId="05a3d4c8-0c7e-4bd4-a89b-7182dd0df68e" providerId="ADAL" clId="{53829226-38AD-431A-BCF5-4D5FFBF610E4}" dt="2023-09-19T13:01:53.399" v="4" actId="478"/>
          <ac:picMkLst>
            <pc:docMk/>
            <pc:sldMk cId="3984738813" sldId="310"/>
            <ac:picMk id="2" creationId="{AC0767C8-88D6-165B-78EA-D54F4B8C745B}"/>
          </ac:picMkLst>
        </pc:picChg>
        <pc:picChg chg="del">
          <ac:chgData name="Rick van 't Spijker" userId="05a3d4c8-0c7e-4bd4-a89b-7182dd0df68e" providerId="ADAL" clId="{53829226-38AD-431A-BCF5-4D5FFBF610E4}" dt="2023-09-19T13:01:47.744" v="1" actId="478"/>
          <ac:picMkLst>
            <pc:docMk/>
            <pc:sldMk cId="3984738813" sldId="310"/>
            <ac:picMk id="3" creationId="{068CDC5C-B7F7-D650-E202-9B17337EF3E4}"/>
          </ac:picMkLst>
        </pc:picChg>
        <pc:picChg chg="del">
          <ac:chgData name="Rick van 't Spijker" userId="05a3d4c8-0c7e-4bd4-a89b-7182dd0df68e" providerId="ADAL" clId="{53829226-38AD-431A-BCF5-4D5FFBF610E4}" dt="2023-09-19T13:01:55.272" v="5" actId="478"/>
          <ac:picMkLst>
            <pc:docMk/>
            <pc:sldMk cId="3984738813" sldId="310"/>
            <ac:picMk id="4" creationId="{02A8544E-0804-E5B4-0728-906AC0C4464B}"/>
          </ac:picMkLst>
        </pc:picChg>
        <pc:picChg chg="del">
          <ac:chgData name="Rick van 't Spijker" userId="05a3d4c8-0c7e-4bd4-a89b-7182dd0df68e" providerId="ADAL" clId="{53829226-38AD-431A-BCF5-4D5FFBF610E4}" dt="2023-09-19T13:01:49.930" v="2" actId="478"/>
          <ac:picMkLst>
            <pc:docMk/>
            <pc:sldMk cId="3984738813" sldId="310"/>
            <ac:picMk id="5" creationId="{6E745408-2240-37B2-8306-F0507467948D}"/>
          </ac:picMkLst>
        </pc:picChg>
        <pc:picChg chg="del">
          <ac:chgData name="Rick van 't Spijker" userId="05a3d4c8-0c7e-4bd4-a89b-7182dd0df68e" providerId="ADAL" clId="{53829226-38AD-431A-BCF5-4D5FFBF610E4}" dt="2023-09-19T13:01:42.517" v="0" actId="478"/>
          <ac:picMkLst>
            <pc:docMk/>
            <pc:sldMk cId="3984738813" sldId="310"/>
            <ac:picMk id="10" creationId="{84CF7940-0EED-1B5E-48A4-7039AF2DC3D0}"/>
          </ac:picMkLst>
        </pc:picChg>
        <pc:picChg chg="del">
          <ac:chgData name="Rick van 't Spijker" userId="05a3d4c8-0c7e-4bd4-a89b-7182dd0df68e" providerId="ADAL" clId="{53829226-38AD-431A-BCF5-4D5FFBF610E4}" dt="2023-09-19T13:01:51.573" v="3" actId="478"/>
          <ac:picMkLst>
            <pc:docMk/>
            <pc:sldMk cId="3984738813" sldId="310"/>
            <ac:picMk id="11" creationId="{5675DC3C-C97A-AB69-5FAC-5112DD609DEA}"/>
          </ac:picMkLst>
        </pc:picChg>
      </pc:sldChg>
      <pc:sldChg chg="modSp mod">
        <pc:chgData name="Rick van 't Spijker" userId="05a3d4c8-0c7e-4bd4-a89b-7182dd0df68e" providerId="ADAL" clId="{53829226-38AD-431A-BCF5-4D5FFBF610E4}" dt="2023-09-19T13:08:35.389" v="144" actId="20577"/>
        <pc:sldMkLst>
          <pc:docMk/>
          <pc:sldMk cId="3181418937" sldId="313"/>
        </pc:sldMkLst>
        <pc:spChg chg="mod">
          <ac:chgData name="Rick van 't Spijker" userId="05a3d4c8-0c7e-4bd4-a89b-7182dd0df68e" providerId="ADAL" clId="{53829226-38AD-431A-BCF5-4D5FFBF610E4}" dt="2023-09-19T13:08:35.389" v="144" actId="20577"/>
          <ac:spMkLst>
            <pc:docMk/>
            <pc:sldMk cId="3181418937" sldId="313"/>
            <ac:spMk id="4" creationId="{24FF7E2F-9C8E-D698-8699-01BF4B589C08}"/>
          </ac:spMkLst>
        </pc:spChg>
      </pc:sldChg>
      <pc:sldChg chg="addSp modSp mod modAnim">
        <pc:chgData name="Rick van 't Spijker" userId="05a3d4c8-0c7e-4bd4-a89b-7182dd0df68e" providerId="ADAL" clId="{53829226-38AD-431A-BCF5-4D5FFBF610E4}" dt="2023-09-19T13:19:25.174" v="380"/>
        <pc:sldMkLst>
          <pc:docMk/>
          <pc:sldMk cId="1784868378" sldId="314"/>
        </pc:sldMkLst>
        <pc:spChg chg="add mod">
          <ac:chgData name="Rick van 't Spijker" userId="05a3d4c8-0c7e-4bd4-a89b-7182dd0df68e" providerId="ADAL" clId="{53829226-38AD-431A-BCF5-4D5FFBF610E4}" dt="2023-09-19T13:17:30.054" v="366" actId="571"/>
          <ac:spMkLst>
            <pc:docMk/>
            <pc:sldMk cId="1784868378" sldId="314"/>
            <ac:spMk id="3" creationId="{432B18D6-8223-3062-F2D8-3C32384B2437}"/>
          </ac:spMkLst>
        </pc:spChg>
        <pc:spChg chg="add mod">
          <ac:chgData name="Rick van 't Spijker" userId="05a3d4c8-0c7e-4bd4-a89b-7182dd0df68e" providerId="ADAL" clId="{53829226-38AD-431A-BCF5-4D5FFBF610E4}" dt="2023-09-19T13:17:30.054" v="366" actId="571"/>
          <ac:spMkLst>
            <pc:docMk/>
            <pc:sldMk cId="1784868378" sldId="314"/>
            <ac:spMk id="4" creationId="{1BA4669B-B59A-85E4-1AB5-125B27D1D14E}"/>
          </ac:spMkLst>
        </pc:spChg>
        <pc:spChg chg="add mod">
          <ac:chgData name="Rick van 't Spijker" userId="05a3d4c8-0c7e-4bd4-a89b-7182dd0df68e" providerId="ADAL" clId="{53829226-38AD-431A-BCF5-4D5FFBF610E4}" dt="2023-09-19T13:18:00.380" v="371" actId="1037"/>
          <ac:spMkLst>
            <pc:docMk/>
            <pc:sldMk cId="1784868378" sldId="314"/>
            <ac:spMk id="5" creationId="{D523642C-84AD-55B8-C6B2-C994957C841D}"/>
          </ac:spMkLst>
        </pc:spChg>
        <pc:spChg chg="add mod">
          <ac:chgData name="Rick van 't Spijker" userId="05a3d4c8-0c7e-4bd4-a89b-7182dd0df68e" providerId="ADAL" clId="{53829226-38AD-431A-BCF5-4D5FFBF610E4}" dt="2023-09-19T13:18:00.380" v="371" actId="1037"/>
          <ac:spMkLst>
            <pc:docMk/>
            <pc:sldMk cId="1784868378" sldId="314"/>
            <ac:spMk id="9" creationId="{672612D8-EDC2-681E-6572-B62B49A0AD57}"/>
          </ac:spMkLst>
        </pc:spChg>
        <pc:picChg chg="ord">
          <ac:chgData name="Rick van 't Spijker" userId="05a3d4c8-0c7e-4bd4-a89b-7182dd0df68e" providerId="ADAL" clId="{53829226-38AD-431A-BCF5-4D5FFBF610E4}" dt="2023-09-19T13:18:39.990" v="375" actId="170"/>
          <ac:picMkLst>
            <pc:docMk/>
            <pc:sldMk cId="1784868378" sldId="314"/>
            <ac:picMk id="10" creationId="{0D26314B-FDFE-4C7F-E90A-BC26D894D5FC}"/>
          </ac:picMkLst>
        </pc:picChg>
      </pc:sldChg>
      <pc:sldChg chg="modSp mod">
        <pc:chgData name="Rick van 't Spijker" userId="05a3d4c8-0c7e-4bd4-a89b-7182dd0df68e" providerId="ADAL" clId="{53829226-38AD-431A-BCF5-4D5FFBF610E4}" dt="2023-09-19T13:20:02.970" v="382" actId="1076"/>
        <pc:sldMkLst>
          <pc:docMk/>
          <pc:sldMk cId="1625057102" sldId="315"/>
        </pc:sldMkLst>
        <pc:picChg chg="mod">
          <ac:chgData name="Rick van 't Spijker" userId="05a3d4c8-0c7e-4bd4-a89b-7182dd0df68e" providerId="ADAL" clId="{53829226-38AD-431A-BCF5-4D5FFBF610E4}" dt="2023-09-19T13:20:02.970" v="382" actId="1076"/>
          <ac:picMkLst>
            <pc:docMk/>
            <pc:sldMk cId="1625057102" sldId="315"/>
            <ac:picMk id="170" creationId="{8F68C32A-9086-8B64-A16D-D4E12FFC7BC4}"/>
          </ac:picMkLst>
        </pc:picChg>
      </pc:sldChg>
      <pc:sldChg chg="modAnim">
        <pc:chgData name="Rick van 't Spijker" userId="05a3d4c8-0c7e-4bd4-a89b-7182dd0df68e" providerId="ADAL" clId="{53829226-38AD-431A-BCF5-4D5FFBF610E4}" dt="2023-09-19T13:05:26.158" v="89"/>
        <pc:sldMkLst>
          <pc:docMk/>
          <pc:sldMk cId="2869555124" sldId="316"/>
        </pc:sldMkLst>
      </pc:sldChg>
      <pc:sldChg chg="modSp mod">
        <pc:chgData name="Rick van 't Spijker" userId="05a3d4c8-0c7e-4bd4-a89b-7182dd0df68e" providerId="ADAL" clId="{53829226-38AD-431A-BCF5-4D5FFBF610E4}" dt="2023-09-19T13:25:23.037" v="422" actId="1037"/>
        <pc:sldMkLst>
          <pc:docMk/>
          <pc:sldMk cId="2674994505" sldId="317"/>
        </pc:sldMkLst>
        <pc:spChg chg="mod">
          <ac:chgData name="Rick van 't Spijker" userId="05a3d4c8-0c7e-4bd4-a89b-7182dd0df68e" providerId="ADAL" clId="{53829226-38AD-431A-BCF5-4D5FFBF610E4}" dt="2023-09-19T13:25:04.026" v="410" actId="1076"/>
          <ac:spMkLst>
            <pc:docMk/>
            <pc:sldMk cId="2674994505" sldId="317"/>
            <ac:spMk id="13" creationId="{C76CEB92-53C1-360C-0756-9E044CE068A6}"/>
          </ac:spMkLst>
        </pc:spChg>
        <pc:spChg chg="mod">
          <ac:chgData name="Rick van 't Spijker" userId="05a3d4c8-0c7e-4bd4-a89b-7182dd0df68e" providerId="ADAL" clId="{53829226-38AD-431A-BCF5-4D5FFBF610E4}" dt="2023-09-19T13:25:23.037" v="422" actId="1037"/>
          <ac:spMkLst>
            <pc:docMk/>
            <pc:sldMk cId="2674994505" sldId="317"/>
            <ac:spMk id="15" creationId="{AB13612A-022E-9E7C-9D6A-2B52270322C4}"/>
          </ac:spMkLst>
        </pc:spChg>
        <pc:picChg chg="mod ord modCrop">
          <ac:chgData name="Rick van 't Spijker" userId="05a3d4c8-0c7e-4bd4-a89b-7182dd0df68e" providerId="ADAL" clId="{53829226-38AD-431A-BCF5-4D5FFBF610E4}" dt="2023-09-19T13:10:38.074" v="155" actId="1076"/>
          <ac:picMkLst>
            <pc:docMk/>
            <pc:sldMk cId="2674994505" sldId="317"/>
            <ac:picMk id="10" creationId="{F9989AFB-D573-B06C-86BE-472D19BF8AB7}"/>
          </ac:picMkLst>
        </pc:picChg>
      </pc:sldChg>
      <pc:sldChg chg="modAnim">
        <pc:chgData name="Rick van 't Spijker" userId="05a3d4c8-0c7e-4bd4-a89b-7182dd0df68e" providerId="ADAL" clId="{53829226-38AD-431A-BCF5-4D5FFBF610E4}" dt="2023-09-19T13:05:26.158" v="89"/>
        <pc:sldMkLst>
          <pc:docMk/>
          <pc:sldMk cId="1834859965" sldId="318"/>
        </pc:sldMkLst>
      </pc:sldChg>
      <pc:sldChg chg="modAnim">
        <pc:chgData name="Rick van 't Spijker" userId="05a3d4c8-0c7e-4bd4-a89b-7182dd0df68e" providerId="ADAL" clId="{53829226-38AD-431A-BCF5-4D5FFBF610E4}" dt="2023-09-19T13:24:35.994" v="407"/>
        <pc:sldMkLst>
          <pc:docMk/>
          <pc:sldMk cId="2283859729" sldId="322"/>
        </pc:sldMkLst>
      </pc:sldChg>
      <pc:sldChg chg="addSp delSp modSp mod modAnim">
        <pc:chgData name="Rick van 't Spijker" userId="05a3d4c8-0c7e-4bd4-a89b-7182dd0df68e" providerId="ADAL" clId="{53829226-38AD-431A-BCF5-4D5FFBF610E4}" dt="2023-09-19T13:23:56.466" v="406"/>
        <pc:sldMkLst>
          <pc:docMk/>
          <pc:sldMk cId="1609573155" sldId="323"/>
        </pc:sldMkLst>
        <pc:spChg chg="mod">
          <ac:chgData name="Rick van 't Spijker" userId="05a3d4c8-0c7e-4bd4-a89b-7182dd0df68e" providerId="ADAL" clId="{53829226-38AD-431A-BCF5-4D5FFBF610E4}" dt="2023-09-19T13:22:35.110" v="399" actId="1076"/>
          <ac:spMkLst>
            <pc:docMk/>
            <pc:sldMk cId="1609573155" sldId="323"/>
            <ac:spMk id="6" creationId="{C77A14AE-F1D4-C12C-66E8-7A615B1D43A0}"/>
          </ac:spMkLst>
        </pc:spChg>
        <pc:picChg chg="add mod">
          <ac:chgData name="Rick van 't Spijker" userId="05a3d4c8-0c7e-4bd4-a89b-7182dd0df68e" providerId="ADAL" clId="{53829226-38AD-431A-BCF5-4D5FFBF610E4}" dt="2023-09-19T13:23:04.433" v="402"/>
          <ac:picMkLst>
            <pc:docMk/>
            <pc:sldMk cId="1609573155" sldId="323"/>
            <ac:picMk id="2" creationId="{EB6F9097-7CF6-CF2C-5405-2D298325C41D}"/>
          </ac:picMkLst>
        </pc:picChg>
        <pc:picChg chg="del">
          <ac:chgData name="Rick van 't Spijker" userId="05a3d4c8-0c7e-4bd4-a89b-7182dd0df68e" providerId="ADAL" clId="{53829226-38AD-431A-BCF5-4D5FFBF610E4}" dt="2023-09-19T13:22:56.123" v="401" actId="478"/>
          <ac:picMkLst>
            <pc:docMk/>
            <pc:sldMk cId="1609573155" sldId="323"/>
            <ac:picMk id="1026" creationId="{0706FCFC-0475-236C-8BF9-29D9A54A0D6F}"/>
          </ac:picMkLst>
        </pc:picChg>
      </pc:sldChg>
      <pc:sldChg chg="modAnim">
        <pc:chgData name="Rick van 't Spijker" userId="05a3d4c8-0c7e-4bd4-a89b-7182dd0df68e" providerId="ADAL" clId="{53829226-38AD-431A-BCF5-4D5FFBF610E4}" dt="2023-09-19T13:25:44.779" v="423"/>
        <pc:sldMkLst>
          <pc:docMk/>
          <pc:sldMk cId="1483250515" sldId="324"/>
        </pc:sldMkLst>
      </pc:sldChg>
      <pc:sldChg chg="addSp delSp">
        <pc:chgData name="Rick van 't Spijker" userId="05a3d4c8-0c7e-4bd4-a89b-7182dd0df68e" providerId="ADAL" clId="{53829226-38AD-431A-BCF5-4D5FFBF610E4}" dt="2023-09-19T13:10:51.693" v="157" actId="478"/>
        <pc:sldMkLst>
          <pc:docMk/>
          <pc:sldMk cId="3385579298" sldId="327"/>
        </pc:sldMkLst>
        <pc:picChg chg="add del">
          <ac:chgData name="Rick van 't Spijker" userId="05a3d4c8-0c7e-4bd4-a89b-7182dd0df68e" providerId="ADAL" clId="{53829226-38AD-431A-BCF5-4D5FFBF610E4}" dt="2023-09-19T13:10:51.693" v="157" actId="478"/>
          <ac:picMkLst>
            <pc:docMk/>
            <pc:sldMk cId="3385579298" sldId="327"/>
            <ac:picMk id="4098" creationId="{8E022899-DE16-A44C-A63B-27AE974A098B}"/>
          </ac:picMkLst>
        </pc:picChg>
      </pc:sldChg>
      <pc:sldChg chg="modAnim">
        <pc:chgData name="Rick van 't Spijker" userId="05a3d4c8-0c7e-4bd4-a89b-7182dd0df68e" providerId="ADAL" clId="{53829226-38AD-431A-BCF5-4D5FFBF610E4}" dt="2023-09-19T13:20:35.882" v="383"/>
        <pc:sldMkLst>
          <pc:docMk/>
          <pc:sldMk cId="923329447" sldId="328"/>
        </pc:sldMkLst>
      </pc:sldChg>
      <pc:sldMasterChg chg="modSldLayout">
        <pc:chgData name="Rick van 't Spijker" userId="05a3d4c8-0c7e-4bd4-a89b-7182dd0df68e" providerId="ADAL" clId="{53829226-38AD-431A-BCF5-4D5FFBF610E4}" dt="2023-09-19T13:05:51.912" v="90" actId="478"/>
        <pc:sldMasterMkLst>
          <pc:docMk/>
          <pc:sldMasterMk cId="611196715" sldId="2147483648"/>
        </pc:sldMasterMkLst>
        <pc:sldLayoutChg chg="delSp mod modAnim">
          <pc:chgData name="Rick van 't Spijker" userId="05a3d4c8-0c7e-4bd4-a89b-7182dd0df68e" providerId="ADAL" clId="{53829226-38AD-431A-BCF5-4D5FFBF610E4}" dt="2023-09-19T13:05:51.912" v="90" actId="478"/>
          <pc:sldLayoutMkLst>
            <pc:docMk/>
            <pc:sldMasterMk cId="611196715" sldId="2147483648"/>
            <pc:sldLayoutMk cId="58328517" sldId="2147483683"/>
          </pc:sldLayoutMkLst>
          <pc:picChg chg="del">
            <ac:chgData name="Rick van 't Spijker" userId="05a3d4c8-0c7e-4bd4-a89b-7182dd0df68e" providerId="ADAL" clId="{53829226-38AD-431A-BCF5-4D5FFBF610E4}" dt="2023-09-19T13:05:51.912" v="90" actId="478"/>
            <ac:picMkLst>
              <pc:docMk/>
              <pc:sldMasterMk cId="611196715" sldId="2147483648"/>
              <pc:sldLayoutMk cId="58328517" sldId="2147483683"/>
              <ac:picMk id="9" creationId="{381E89DD-DE0E-841B-277E-56CF8F6FB50A}"/>
            </ac:picMkLst>
          </pc:picChg>
        </pc:sldLayoutChg>
      </pc:sldMasterChg>
    </pc:docChg>
  </pc:docChgLst>
  <pc:docChgLst>
    <pc:chgData name="Rick van 't Spijker" userId="05a3d4c8-0c7e-4bd4-a89b-7182dd0df68e" providerId="ADAL" clId="{36EB911C-DF9F-409D-B5DF-7D92D4802149}"/>
    <pc:docChg chg="undo custSel addSld delSld modSld sldOrd">
      <pc:chgData name="Rick van 't Spijker" userId="05a3d4c8-0c7e-4bd4-a89b-7182dd0df68e" providerId="ADAL" clId="{36EB911C-DF9F-409D-B5DF-7D92D4802149}" dt="2023-09-19T09:55:54.100" v="6976" actId="1076"/>
      <pc:docMkLst>
        <pc:docMk/>
      </pc:docMkLst>
      <pc:sldChg chg="del">
        <pc:chgData name="Rick van 't Spijker" userId="05a3d4c8-0c7e-4bd4-a89b-7182dd0df68e" providerId="ADAL" clId="{36EB911C-DF9F-409D-B5DF-7D92D4802149}" dt="2023-09-19T09:27:06.753" v="6639" actId="47"/>
        <pc:sldMkLst>
          <pc:docMk/>
          <pc:sldMk cId="1177564102" sldId="257"/>
        </pc:sldMkLst>
      </pc:sldChg>
      <pc:sldChg chg="add del">
        <pc:chgData name="Rick van 't Spijker" userId="05a3d4c8-0c7e-4bd4-a89b-7182dd0df68e" providerId="ADAL" clId="{36EB911C-DF9F-409D-B5DF-7D92D4802149}" dt="2023-09-19T09:28:25.827" v="6778" actId="47"/>
        <pc:sldMkLst>
          <pc:docMk/>
          <pc:sldMk cId="3024384372" sldId="259"/>
        </pc:sldMkLst>
      </pc:sldChg>
      <pc:sldChg chg="add del">
        <pc:chgData name="Rick van 't Spijker" userId="05a3d4c8-0c7e-4bd4-a89b-7182dd0df68e" providerId="ADAL" clId="{36EB911C-DF9F-409D-B5DF-7D92D4802149}" dt="2023-09-19T09:28:25.827" v="6778" actId="47"/>
        <pc:sldMkLst>
          <pc:docMk/>
          <pc:sldMk cId="1321812446" sldId="260"/>
        </pc:sldMkLst>
      </pc:sldChg>
      <pc:sldChg chg="add del">
        <pc:chgData name="Rick van 't Spijker" userId="05a3d4c8-0c7e-4bd4-a89b-7182dd0df68e" providerId="ADAL" clId="{36EB911C-DF9F-409D-B5DF-7D92D4802149}" dt="2023-09-19T09:28:25.827" v="6778" actId="47"/>
        <pc:sldMkLst>
          <pc:docMk/>
          <pc:sldMk cId="3659928324" sldId="262"/>
        </pc:sldMkLst>
      </pc:sldChg>
      <pc:sldChg chg="add del">
        <pc:chgData name="Rick van 't Spijker" userId="05a3d4c8-0c7e-4bd4-a89b-7182dd0df68e" providerId="ADAL" clId="{36EB911C-DF9F-409D-B5DF-7D92D4802149}" dt="2023-09-19T09:28:25.827" v="6778" actId="47"/>
        <pc:sldMkLst>
          <pc:docMk/>
          <pc:sldMk cId="746839992" sldId="266"/>
        </pc:sldMkLst>
      </pc:sldChg>
      <pc:sldChg chg="add del">
        <pc:chgData name="Rick van 't Spijker" userId="05a3d4c8-0c7e-4bd4-a89b-7182dd0df68e" providerId="ADAL" clId="{36EB911C-DF9F-409D-B5DF-7D92D4802149}" dt="2023-09-19T07:58:20.765" v="5694" actId="47"/>
        <pc:sldMkLst>
          <pc:docMk/>
          <pc:sldMk cId="2460221648" sldId="270"/>
        </pc:sldMkLst>
      </pc:sldChg>
      <pc:sldChg chg="del">
        <pc:chgData name="Rick van 't Spijker" userId="05a3d4c8-0c7e-4bd4-a89b-7182dd0df68e" providerId="ADAL" clId="{36EB911C-DF9F-409D-B5DF-7D92D4802149}" dt="2023-09-13T12:13:01.010" v="53" actId="47"/>
        <pc:sldMkLst>
          <pc:docMk/>
          <pc:sldMk cId="3895799473" sldId="272"/>
        </pc:sldMkLst>
      </pc:sldChg>
      <pc:sldChg chg="add del">
        <pc:chgData name="Rick van 't Spijker" userId="05a3d4c8-0c7e-4bd4-a89b-7182dd0df68e" providerId="ADAL" clId="{36EB911C-DF9F-409D-B5DF-7D92D4802149}" dt="2023-09-19T09:28:25.827" v="6778" actId="47"/>
        <pc:sldMkLst>
          <pc:docMk/>
          <pc:sldMk cId="3749343502" sldId="273"/>
        </pc:sldMkLst>
      </pc:sldChg>
      <pc:sldChg chg="add del">
        <pc:chgData name="Rick van 't Spijker" userId="05a3d4c8-0c7e-4bd4-a89b-7182dd0df68e" providerId="ADAL" clId="{36EB911C-DF9F-409D-B5DF-7D92D4802149}" dt="2023-09-19T09:28:25.827" v="6778" actId="47"/>
        <pc:sldMkLst>
          <pc:docMk/>
          <pc:sldMk cId="4173954445" sldId="275"/>
        </pc:sldMkLst>
      </pc:sldChg>
      <pc:sldChg chg="modSp mod">
        <pc:chgData name="Rick van 't Spijker" userId="05a3d4c8-0c7e-4bd4-a89b-7182dd0df68e" providerId="ADAL" clId="{36EB911C-DF9F-409D-B5DF-7D92D4802149}" dt="2023-09-19T07:56:18.486" v="5693" actId="207"/>
        <pc:sldMkLst>
          <pc:docMk/>
          <pc:sldMk cId="3177465233" sldId="276"/>
        </pc:sldMkLst>
        <pc:spChg chg="mod">
          <ac:chgData name="Rick van 't Spijker" userId="05a3d4c8-0c7e-4bd4-a89b-7182dd0df68e" providerId="ADAL" clId="{36EB911C-DF9F-409D-B5DF-7D92D4802149}" dt="2023-09-12T08:21:14.441" v="47" actId="6549"/>
          <ac:spMkLst>
            <pc:docMk/>
            <pc:sldMk cId="3177465233" sldId="276"/>
            <ac:spMk id="2" creationId="{72E8373C-BC50-F917-5B09-5CBAE65323BE}"/>
          </ac:spMkLst>
        </pc:spChg>
        <pc:spChg chg="mod">
          <ac:chgData name="Rick van 't Spijker" userId="05a3d4c8-0c7e-4bd4-a89b-7182dd0df68e" providerId="ADAL" clId="{36EB911C-DF9F-409D-B5DF-7D92D4802149}" dt="2023-09-19T07:56:18.486" v="5693" actId="207"/>
          <ac:spMkLst>
            <pc:docMk/>
            <pc:sldMk cId="3177465233" sldId="276"/>
            <ac:spMk id="7" creationId="{E93F1C48-8AB4-051C-A23A-C9DF6329BD95}"/>
          </ac:spMkLst>
        </pc:spChg>
        <pc:picChg chg="mod">
          <ac:chgData name="Rick van 't Spijker" userId="05a3d4c8-0c7e-4bd4-a89b-7182dd0df68e" providerId="ADAL" clId="{36EB911C-DF9F-409D-B5DF-7D92D4802149}" dt="2023-09-12T08:44:09.705" v="48" actId="14826"/>
          <ac:picMkLst>
            <pc:docMk/>
            <pc:sldMk cId="3177465233" sldId="276"/>
            <ac:picMk id="3" creationId="{7165C1B8-4181-C8CC-B31B-2144B8F80111}"/>
          </ac:picMkLst>
        </pc:picChg>
      </pc:sldChg>
      <pc:sldChg chg="addSp delSp modSp del mod">
        <pc:chgData name="Rick van 't Spijker" userId="05a3d4c8-0c7e-4bd4-a89b-7182dd0df68e" providerId="ADAL" clId="{36EB911C-DF9F-409D-B5DF-7D92D4802149}" dt="2023-09-19T07:58:49.817" v="5695" actId="47"/>
        <pc:sldMkLst>
          <pc:docMk/>
          <pc:sldMk cId="4254038401" sldId="278"/>
        </pc:sldMkLst>
        <pc:spChg chg="add del mod">
          <ac:chgData name="Rick van 't Spijker" userId="05a3d4c8-0c7e-4bd4-a89b-7182dd0df68e" providerId="ADAL" clId="{36EB911C-DF9F-409D-B5DF-7D92D4802149}" dt="2023-09-18T19:36:14.199" v="3617" actId="478"/>
          <ac:spMkLst>
            <pc:docMk/>
            <pc:sldMk cId="4254038401" sldId="278"/>
            <ac:spMk id="3" creationId="{D13EBB6C-BFE6-9F04-5B85-9A4506EADE0E}"/>
          </ac:spMkLst>
        </pc:spChg>
        <pc:spChg chg="add del mod">
          <ac:chgData name="Rick van 't Spijker" userId="05a3d4c8-0c7e-4bd4-a89b-7182dd0df68e" providerId="ADAL" clId="{36EB911C-DF9F-409D-B5DF-7D92D4802149}" dt="2023-09-18T19:36:19.702" v="3619" actId="478"/>
          <ac:spMkLst>
            <pc:docMk/>
            <pc:sldMk cId="4254038401" sldId="278"/>
            <ac:spMk id="5" creationId="{12FDC5F8-1351-D9BD-E794-922B03FB68ED}"/>
          </ac:spMkLst>
        </pc:spChg>
        <pc:spChg chg="del mod">
          <ac:chgData name="Rick van 't Spijker" userId="05a3d4c8-0c7e-4bd4-a89b-7182dd0df68e" providerId="ADAL" clId="{36EB911C-DF9F-409D-B5DF-7D92D4802149}" dt="2023-09-18T19:36:07.511" v="3616" actId="478"/>
          <ac:spMkLst>
            <pc:docMk/>
            <pc:sldMk cId="4254038401" sldId="278"/>
            <ac:spMk id="23" creationId="{E924C14D-E480-D650-DFFF-098DFE16390B}"/>
          </ac:spMkLst>
        </pc:spChg>
        <pc:spChg chg="del mod">
          <ac:chgData name="Rick van 't Spijker" userId="05a3d4c8-0c7e-4bd4-a89b-7182dd0df68e" providerId="ADAL" clId="{36EB911C-DF9F-409D-B5DF-7D92D4802149}" dt="2023-09-18T19:36:17.495" v="3618" actId="478"/>
          <ac:spMkLst>
            <pc:docMk/>
            <pc:sldMk cId="4254038401" sldId="278"/>
            <ac:spMk id="24" creationId="{33699C42-2767-7ADB-F951-68439790DC33}"/>
          </ac:spMkLst>
        </pc:spChg>
      </pc:sldChg>
      <pc:sldChg chg="del">
        <pc:chgData name="Rick van 't Spijker" userId="05a3d4c8-0c7e-4bd4-a89b-7182dd0df68e" providerId="ADAL" clId="{36EB911C-DF9F-409D-B5DF-7D92D4802149}" dt="2023-09-13T12:13:01.010" v="53" actId="47"/>
        <pc:sldMkLst>
          <pc:docMk/>
          <pc:sldMk cId="2182345007" sldId="279"/>
        </pc:sldMkLst>
      </pc:sldChg>
      <pc:sldChg chg="del">
        <pc:chgData name="Rick van 't Spijker" userId="05a3d4c8-0c7e-4bd4-a89b-7182dd0df68e" providerId="ADAL" clId="{36EB911C-DF9F-409D-B5DF-7D92D4802149}" dt="2023-09-13T12:13:01.010" v="53" actId="47"/>
        <pc:sldMkLst>
          <pc:docMk/>
          <pc:sldMk cId="360009504" sldId="281"/>
        </pc:sldMkLst>
      </pc:sldChg>
      <pc:sldChg chg="add del">
        <pc:chgData name="Rick van 't Spijker" userId="05a3d4c8-0c7e-4bd4-a89b-7182dd0df68e" providerId="ADAL" clId="{36EB911C-DF9F-409D-B5DF-7D92D4802149}" dt="2023-09-19T09:28:25.827" v="6778" actId="47"/>
        <pc:sldMkLst>
          <pc:docMk/>
          <pc:sldMk cId="1752262467" sldId="282"/>
        </pc:sldMkLst>
      </pc:sldChg>
      <pc:sldChg chg="del">
        <pc:chgData name="Rick van 't Spijker" userId="05a3d4c8-0c7e-4bd4-a89b-7182dd0df68e" providerId="ADAL" clId="{36EB911C-DF9F-409D-B5DF-7D92D4802149}" dt="2023-09-13T12:13:01.010" v="53" actId="47"/>
        <pc:sldMkLst>
          <pc:docMk/>
          <pc:sldMk cId="4054792398" sldId="283"/>
        </pc:sldMkLst>
      </pc:sldChg>
      <pc:sldChg chg="del">
        <pc:chgData name="Rick van 't Spijker" userId="05a3d4c8-0c7e-4bd4-a89b-7182dd0df68e" providerId="ADAL" clId="{36EB911C-DF9F-409D-B5DF-7D92D4802149}" dt="2023-09-19T09:27:06.753" v="6639" actId="47"/>
        <pc:sldMkLst>
          <pc:docMk/>
          <pc:sldMk cId="3065268316" sldId="285"/>
        </pc:sldMkLst>
      </pc:sldChg>
      <pc:sldChg chg="del">
        <pc:chgData name="Rick van 't Spijker" userId="05a3d4c8-0c7e-4bd4-a89b-7182dd0df68e" providerId="ADAL" clId="{36EB911C-DF9F-409D-B5DF-7D92D4802149}" dt="2023-09-19T09:27:06.753" v="6639" actId="47"/>
        <pc:sldMkLst>
          <pc:docMk/>
          <pc:sldMk cId="1302475206" sldId="286"/>
        </pc:sldMkLst>
      </pc:sldChg>
      <pc:sldChg chg="del">
        <pc:chgData name="Rick van 't Spijker" userId="05a3d4c8-0c7e-4bd4-a89b-7182dd0df68e" providerId="ADAL" clId="{36EB911C-DF9F-409D-B5DF-7D92D4802149}" dt="2023-09-19T09:27:06.753" v="6639" actId="47"/>
        <pc:sldMkLst>
          <pc:docMk/>
          <pc:sldMk cId="3265118960" sldId="287"/>
        </pc:sldMkLst>
      </pc:sldChg>
      <pc:sldChg chg="del">
        <pc:chgData name="Rick van 't Spijker" userId="05a3d4c8-0c7e-4bd4-a89b-7182dd0df68e" providerId="ADAL" clId="{36EB911C-DF9F-409D-B5DF-7D92D4802149}" dt="2023-09-19T09:27:06.753" v="6639" actId="47"/>
        <pc:sldMkLst>
          <pc:docMk/>
          <pc:sldMk cId="4185246748" sldId="288"/>
        </pc:sldMkLst>
      </pc:sldChg>
      <pc:sldChg chg="del">
        <pc:chgData name="Rick van 't Spijker" userId="05a3d4c8-0c7e-4bd4-a89b-7182dd0df68e" providerId="ADAL" clId="{36EB911C-DF9F-409D-B5DF-7D92D4802149}" dt="2023-09-19T09:27:06.753" v="6639" actId="47"/>
        <pc:sldMkLst>
          <pc:docMk/>
          <pc:sldMk cId="4227827353" sldId="289"/>
        </pc:sldMkLst>
      </pc:sldChg>
      <pc:sldChg chg="del">
        <pc:chgData name="Rick van 't Spijker" userId="05a3d4c8-0c7e-4bd4-a89b-7182dd0df68e" providerId="ADAL" clId="{36EB911C-DF9F-409D-B5DF-7D92D4802149}" dt="2023-09-19T09:27:11.429" v="6640" actId="47"/>
        <pc:sldMkLst>
          <pc:docMk/>
          <pc:sldMk cId="3373878165" sldId="290"/>
        </pc:sldMkLst>
      </pc:sldChg>
      <pc:sldChg chg="del">
        <pc:chgData name="Rick van 't Spijker" userId="05a3d4c8-0c7e-4bd4-a89b-7182dd0df68e" providerId="ADAL" clId="{36EB911C-DF9F-409D-B5DF-7D92D4802149}" dt="2023-09-19T09:28:32.813" v="6779" actId="47"/>
        <pc:sldMkLst>
          <pc:docMk/>
          <pc:sldMk cId="1008033433" sldId="291"/>
        </pc:sldMkLst>
      </pc:sldChg>
      <pc:sldChg chg="add del">
        <pc:chgData name="Rick van 't Spijker" userId="05a3d4c8-0c7e-4bd4-a89b-7182dd0df68e" providerId="ADAL" clId="{36EB911C-DF9F-409D-B5DF-7D92D4802149}" dt="2023-09-19T09:28:25.827" v="6778" actId="47"/>
        <pc:sldMkLst>
          <pc:docMk/>
          <pc:sldMk cId="2061994400" sldId="294"/>
        </pc:sldMkLst>
      </pc:sldChg>
      <pc:sldChg chg="add del">
        <pc:chgData name="Rick van 't Spijker" userId="05a3d4c8-0c7e-4bd4-a89b-7182dd0df68e" providerId="ADAL" clId="{36EB911C-DF9F-409D-B5DF-7D92D4802149}" dt="2023-09-19T09:28:25.827" v="6778" actId="47"/>
        <pc:sldMkLst>
          <pc:docMk/>
          <pc:sldMk cId="2632502525" sldId="295"/>
        </pc:sldMkLst>
      </pc:sldChg>
      <pc:sldChg chg="add del">
        <pc:chgData name="Rick van 't Spijker" userId="05a3d4c8-0c7e-4bd4-a89b-7182dd0df68e" providerId="ADAL" clId="{36EB911C-DF9F-409D-B5DF-7D92D4802149}" dt="2023-09-19T09:28:25.827" v="6778" actId="47"/>
        <pc:sldMkLst>
          <pc:docMk/>
          <pc:sldMk cId="1963088391" sldId="296"/>
        </pc:sldMkLst>
      </pc:sldChg>
      <pc:sldChg chg="add del">
        <pc:chgData name="Rick van 't Spijker" userId="05a3d4c8-0c7e-4bd4-a89b-7182dd0df68e" providerId="ADAL" clId="{36EB911C-DF9F-409D-B5DF-7D92D4802149}" dt="2023-09-19T09:28:25.827" v="6778" actId="47"/>
        <pc:sldMkLst>
          <pc:docMk/>
          <pc:sldMk cId="3536656126" sldId="297"/>
        </pc:sldMkLst>
      </pc:sldChg>
      <pc:sldChg chg="add del">
        <pc:chgData name="Rick van 't Spijker" userId="05a3d4c8-0c7e-4bd4-a89b-7182dd0df68e" providerId="ADAL" clId="{36EB911C-DF9F-409D-B5DF-7D92D4802149}" dt="2023-09-19T09:28:25.827" v="6778" actId="47"/>
        <pc:sldMkLst>
          <pc:docMk/>
          <pc:sldMk cId="2441582496" sldId="298"/>
        </pc:sldMkLst>
      </pc:sldChg>
      <pc:sldChg chg="add del">
        <pc:chgData name="Rick van 't Spijker" userId="05a3d4c8-0c7e-4bd4-a89b-7182dd0df68e" providerId="ADAL" clId="{36EB911C-DF9F-409D-B5DF-7D92D4802149}" dt="2023-09-19T09:28:25.827" v="6778" actId="47"/>
        <pc:sldMkLst>
          <pc:docMk/>
          <pc:sldMk cId="2634732050" sldId="300"/>
        </pc:sldMkLst>
      </pc:sldChg>
      <pc:sldChg chg="add del">
        <pc:chgData name="Rick van 't Spijker" userId="05a3d4c8-0c7e-4bd4-a89b-7182dd0df68e" providerId="ADAL" clId="{36EB911C-DF9F-409D-B5DF-7D92D4802149}" dt="2023-09-19T09:28:25.827" v="6778" actId="47"/>
        <pc:sldMkLst>
          <pc:docMk/>
          <pc:sldMk cId="278760830" sldId="301"/>
        </pc:sldMkLst>
      </pc:sldChg>
      <pc:sldChg chg="add del">
        <pc:chgData name="Rick van 't Spijker" userId="05a3d4c8-0c7e-4bd4-a89b-7182dd0df68e" providerId="ADAL" clId="{36EB911C-DF9F-409D-B5DF-7D92D4802149}" dt="2023-09-19T09:28:25.827" v="6778" actId="47"/>
        <pc:sldMkLst>
          <pc:docMk/>
          <pc:sldMk cId="1236100608" sldId="302"/>
        </pc:sldMkLst>
      </pc:sldChg>
      <pc:sldChg chg="addSp modSp del mod ord modNotesTx">
        <pc:chgData name="Rick van 't Spijker" userId="05a3d4c8-0c7e-4bd4-a89b-7182dd0df68e" providerId="ADAL" clId="{36EB911C-DF9F-409D-B5DF-7D92D4802149}" dt="2023-09-18T19:31:37.344" v="3478" actId="47"/>
        <pc:sldMkLst>
          <pc:docMk/>
          <pc:sldMk cId="2270929766" sldId="303"/>
        </pc:sldMkLst>
        <pc:spChg chg="mod">
          <ac:chgData name="Rick van 't Spijker" userId="05a3d4c8-0c7e-4bd4-a89b-7182dd0df68e" providerId="ADAL" clId="{36EB911C-DF9F-409D-B5DF-7D92D4802149}" dt="2023-09-13T13:00:20.500" v="890" actId="14100"/>
          <ac:spMkLst>
            <pc:docMk/>
            <pc:sldMk cId="2270929766" sldId="303"/>
            <ac:spMk id="6" creationId="{E51B649E-1CA9-2851-3927-E936AD1E73C9}"/>
          </ac:spMkLst>
        </pc:spChg>
        <pc:spChg chg="mod">
          <ac:chgData name="Rick van 't Spijker" userId="05a3d4c8-0c7e-4bd4-a89b-7182dd0df68e" providerId="ADAL" clId="{36EB911C-DF9F-409D-B5DF-7D92D4802149}" dt="2023-09-18T08:28:31.387" v="2646"/>
          <ac:spMkLst>
            <pc:docMk/>
            <pc:sldMk cId="2270929766" sldId="303"/>
            <ac:spMk id="7" creationId="{E93F1C48-8AB4-051C-A23A-C9DF6329BD95}"/>
          </ac:spMkLst>
        </pc:spChg>
        <pc:picChg chg="add mod">
          <ac:chgData name="Rick van 't Spijker" userId="05a3d4c8-0c7e-4bd4-a89b-7182dd0df68e" providerId="ADAL" clId="{36EB911C-DF9F-409D-B5DF-7D92D4802149}" dt="2023-09-13T14:22:28.214" v="1254" actId="1076"/>
          <ac:picMkLst>
            <pc:docMk/>
            <pc:sldMk cId="2270929766" sldId="303"/>
            <ac:picMk id="2" creationId="{985C35C1-E5FB-DF73-2ADD-3492A945423C}"/>
          </ac:picMkLst>
        </pc:picChg>
      </pc:sldChg>
      <pc:sldChg chg="addSp delSp modSp mod modClrScheme chgLayout">
        <pc:chgData name="Rick van 't Spijker" userId="05a3d4c8-0c7e-4bd4-a89b-7182dd0df68e" providerId="ADAL" clId="{36EB911C-DF9F-409D-B5DF-7D92D4802149}" dt="2023-09-19T08:04:22.338" v="5727" actId="20577"/>
        <pc:sldMkLst>
          <pc:docMk/>
          <pc:sldMk cId="3218978393" sldId="304"/>
        </pc:sldMkLst>
        <pc:spChg chg="add mod ord">
          <ac:chgData name="Rick van 't Spijker" userId="05a3d4c8-0c7e-4bd4-a89b-7182dd0df68e" providerId="ADAL" clId="{36EB911C-DF9F-409D-B5DF-7D92D4802149}" dt="2023-09-19T08:04:22.338" v="5727" actId="20577"/>
          <ac:spMkLst>
            <pc:docMk/>
            <pc:sldMk cId="3218978393" sldId="304"/>
            <ac:spMk id="2" creationId="{C3A9A310-CDD8-71EE-F673-251C1D4D50FB}"/>
          </ac:spMkLst>
        </pc:spChg>
        <pc:spChg chg="add del mod">
          <ac:chgData name="Rick van 't Spijker" userId="05a3d4c8-0c7e-4bd4-a89b-7182dd0df68e" providerId="ADAL" clId="{36EB911C-DF9F-409D-B5DF-7D92D4802149}" dt="2023-09-18T19:42:34.245" v="3640" actId="478"/>
          <ac:spMkLst>
            <pc:docMk/>
            <pc:sldMk cId="3218978393" sldId="304"/>
            <ac:spMk id="3" creationId="{C1C2E40A-EE60-845E-C60E-0E717420719F}"/>
          </ac:spMkLst>
        </pc:spChg>
        <pc:spChg chg="mod ord">
          <ac:chgData name="Rick van 't Spijker" userId="05a3d4c8-0c7e-4bd4-a89b-7182dd0df68e" providerId="ADAL" clId="{36EB911C-DF9F-409D-B5DF-7D92D4802149}" dt="2023-09-19T08:03:50.515" v="5696" actId="700"/>
          <ac:spMkLst>
            <pc:docMk/>
            <pc:sldMk cId="3218978393" sldId="304"/>
            <ac:spMk id="6" creationId="{E51B649E-1CA9-2851-3927-E936AD1E73C9}"/>
          </ac:spMkLst>
        </pc:spChg>
        <pc:spChg chg="del mod ord">
          <ac:chgData name="Rick van 't Spijker" userId="05a3d4c8-0c7e-4bd4-a89b-7182dd0df68e" providerId="ADAL" clId="{36EB911C-DF9F-409D-B5DF-7D92D4802149}" dt="2023-09-18T19:42:29.192" v="3639" actId="478"/>
          <ac:spMkLst>
            <pc:docMk/>
            <pc:sldMk cId="3218978393" sldId="304"/>
            <ac:spMk id="7" creationId="{E93F1C48-8AB4-051C-A23A-C9DF6329BD95}"/>
          </ac:spMkLst>
        </pc:spChg>
      </pc:sldChg>
      <pc:sldChg chg="addSp delSp modSp mod modClrScheme chgLayout">
        <pc:chgData name="Rick van 't Spijker" userId="05a3d4c8-0c7e-4bd4-a89b-7182dd0df68e" providerId="ADAL" clId="{36EB911C-DF9F-409D-B5DF-7D92D4802149}" dt="2023-09-18T21:21:45.585" v="4583" actId="478"/>
        <pc:sldMkLst>
          <pc:docMk/>
          <pc:sldMk cId="231572620" sldId="305"/>
        </pc:sldMkLst>
        <pc:spChg chg="add del mod">
          <ac:chgData name="Rick van 't Spijker" userId="05a3d4c8-0c7e-4bd4-a89b-7182dd0df68e" providerId="ADAL" clId="{36EB911C-DF9F-409D-B5DF-7D92D4802149}" dt="2023-09-18T21:21:45.585" v="4583" actId="478"/>
          <ac:spMkLst>
            <pc:docMk/>
            <pc:sldMk cId="231572620" sldId="305"/>
            <ac:spMk id="3" creationId="{85F6BD75-686A-AC91-9ED0-C5CC3D2DB75C}"/>
          </ac:spMkLst>
        </pc:spChg>
        <pc:spChg chg="mod ord">
          <ac:chgData name="Rick van 't Spijker" userId="05a3d4c8-0c7e-4bd4-a89b-7182dd0df68e" providerId="ADAL" clId="{36EB911C-DF9F-409D-B5DF-7D92D4802149}" dt="2023-09-18T21:21:31.486" v="4581" actId="700"/>
          <ac:spMkLst>
            <pc:docMk/>
            <pc:sldMk cId="231572620" sldId="305"/>
            <ac:spMk id="6" creationId="{E51B649E-1CA9-2851-3927-E936AD1E73C9}"/>
          </ac:spMkLst>
        </pc:spChg>
        <pc:spChg chg="del mod ord">
          <ac:chgData name="Rick van 't Spijker" userId="05a3d4c8-0c7e-4bd4-a89b-7182dd0df68e" providerId="ADAL" clId="{36EB911C-DF9F-409D-B5DF-7D92D4802149}" dt="2023-09-18T21:21:39.203" v="4582" actId="478"/>
          <ac:spMkLst>
            <pc:docMk/>
            <pc:sldMk cId="231572620" sldId="305"/>
            <ac:spMk id="7" creationId="{E93F1C48-8AB4-051C-A23A-C9DF6329BD95}"/>
          </ac:spMkLst>
        </pc:spChg>
      </pc:sldChg>
      <pc:sldChg chg="del">
        <pc:chgData name="Rick van 't Spijker" userId="05a3d4c8-0c7e-4bd4-a89b-7182dd0df68e" providerId="ADAL" clId="{36EB911C-DF9F-409D-B5DF-7D92D4802149}" dt="2023-09-19T09:21:01.951" v="6189" actId="47"/>
        <pc:sldMkLst>
          <pc:docMk/>
          <pc:sldMk cId="1218062431" sldId="306"/>
        </pc:sldMkLst>
      </pc:sldChg>
      <pc:sldChg chg="addSp delSp modSp add mod modAnim chgLayout modNotesTx">
        <pc:chgData name="Rick van 't Spijker" userId="05a3d4c8-0c7e-4bd4-a89b-7182dd0df68e" providerId="ADAL" clId="{36EB911C-DF9F-409D-B5DF-7D92D4802149}" dt="2023-09-14T07:39:05.052" v="1823"/>
        <pc:sldMkLst>
          <pc:docMk/>
          <pc:sldMk cId="3526199025" sldId="307"/>
        </pc:sldMkLst>
        <pc:spChg chg="del">
          <ac:chgData name="Rick van 't Spijker" userId="05a3d4c8-0c7e-4bd4-a89b-7182dd0df68e" providerId="ADAL" clId="{36EB911C-DF9F-409D-B5DF-7D92D4802149}" dt="2023-09-13T12:31:59.484" v="75" actId="700"/>
          <ac:spMkLst>
            <pc:docMk/>
            <pc:sldMk cId="3526199025" sldId="307"/>
            <ac:spMk id="2" creationId="{48C2C44E-0F34-B04D-00BA-B80EF02444D1}"/>
          </ac:spMkLst>
        </pc:spChg>
        <pc:spChg chg="del">
          <ac:chgData name="Rick van 't Spijker" userId="05a3d4c8-0c7e-4bd4-a89b-7182dd0df68e" providerId="ADAL" clId="{36EB911C-DF9F-409D-B5DF-7D92D4802149}" dt="2023-09-13T12:28:16.815" v="57" actId="478"/>
          <ac:spMkLst>
            <pc:docMk/>
            <pc:sldMk cId="3526199025" sldId="307"/>
            <ac:spMk id="3" creationId="{D48DAE85-EDD6-9AF7-8824-331E0240498A}"/>
          </ac:spMkLst>
        </pc:spChg>
        <pc:spChg chg="del">
          <ac:chgData name="Rick van 't Spijker" userId="05a3d4c8-0c7e-4bd4-a89b-7182dd0df68e" providerId="ADAL" clId="{36EB911C-DF9F-409D-B5DF-7D92D4802149}" dt="2023-09-13T12:28:18.817" v="58" actId="478"/>
          <ac:spMkLst>
            <pc:docMk/>
            <pc:sldMk cId="3526199025" sldId="307"/>
            <ac:spMk id="4" creationId="{6287E5D1-5B71-E72E-8809-92E8ACAA7D19}"/>
          </ac:spMkLst>
        </pc:spChg>
        <pc:spChg chg="add mod ord">
          <ac:chgData name="Rick van 't Spijker" userId="05a3d4c8-0c7e-4bd4-a89b-7182dd0df68e" providerId="ADAL" clId="{36EB911C-DF9F-409D-B5DF-7D92D4802149}" dt="2023-09-13T12:32:37.454" v="93" actId="20577"/>
          <ac:spMkLst>
            <pc:docMk/>
            <pc:sldMk cId="3526199025" sldId="307"/>
            <ac:spMk id="7" creationId="{0E637D7B-6175-3B3F-0A7E-8121021FDE90}"/>
          </ac:spMkLst>
        </pc:spChg>
        <pc:spChg chg="add del mod ord">
          <ac:chgData name="Rick van 't Spijker" userId="05a3d4c8-0c7e-4bd4-a89b-7182dd0df68e" providerId="ADAL" clId="{36EB911C-DF9F-409D-B5DF-7D92D4802149}" dt="2023-09-13T12:32:02.927" v="76" actId="478"/>
          <ac:spMkLst>
            <pc:docMk/>
            <pc:sldMk cId="3526199025" sldId="307"/>
            <ac:spMk id="8" creationId="{846F21D0-B722-FDED-9664-C67D572876D7}"/>
          </ac:spMkLst>
        </pc:spChg>
        <pc:spChg chg="add mod ord">
          <ac:chgData name="Rick van 't Spijker" userId="05a3d4c8-0c7e-4bd4-a89b-7182dd0df68e" providerId="ADAL" clId="{36EB911C-DF9F-409D-B5DF-7D92D4802149}" dt="2023-09-13T12:38:29.568" v="320" actId="20577"/>
          <ac:spMkLst>
            <pc:docMk/>
            <pc:sldMk cId="3526199025" sldId="307"/>
            <ac:spMk id="9" creationId="{631E26E9-CB2D-EE2E-FA0A-C1E2D1532833}"/>
          </ac:spMkLst>
        </pc:spChg>
        <pc:picChg chg="add mod">
          <ac:chgData name="Rick van 't Spijker" userId="05a3d4c8-0c7e-4bd4-a89b-7182dd0df68e" providerId="ADAL" clId="{36EB911C-DF9F-409D-B5DF-7D92D4802149}" dt="2023-09-13T12:30:28.794" v="72" actId="1076"/>
          <ac:picMkLst>
            <pc:docMk/>
            <pc:sldMk cId="3526199025" sldId="307"/>
            <ac:picMk id="5" creationId="{31E9BBA4-6799-32FF-530F-36462D2CD16F}"/>
          </ac:picMkLst>
        </pc:picChg>
        <pc:picChg chg="add mod">
          <ac:chgData name="Rick van 't Spijker" userId="05a3d4c8-0c7e-4bd4-a89b-7182dd0df68e" providerId="ADAL" clId="{36EB911C-DF9F-409D-B5DF-7D92D4802149}" dt="2023-09-13T12:30:15.475" v="70" actId="1076"/>
          <ac:picMkLst>
            <pc:docMk/>
            <pc:sldMk cId="3526199025" sldId="307"/>
            <ac:picMk id="6" creationId="{4480B2E9-6DF5-236F-CD0A-63CE6225B365}"/>
          </ac:picMkLst>
        </pc:picChg>
      </pc:sldChg>
      <pc:sldChg chg="del">
        <pc:chgData name="Rick van 't Spijker" userId="05a3d4c8-0c7e-4bd4-a89b-7182dd0df68e" providerId="ADAL" clId="{36EB911C-DF9F-409D-B5DF-7D92D4802149}" dt="2023-09-13T12:13:01.010" v="53" actId="47"/>
        <pc:sldMkLst>
          <pc:docMk/>
          <pc:sldMk cId="3755516338" sldId="307"/>
        </pc:sldMkLst>
      </pc:sldChg>
      <pc:sldChg chg="del">
        <pc:chgData name="Rick van 't Spijker" userId="05a3d4c8-0c7e-4bd4-a89b-7182dd0df68e" providerId="ADAL" clId="{36EB911C-DF9F-409D-B5DF-7D92D4802149}" dt="2023-09-13T12:13:01.010" v="53" actId="47"/>
        <pc:sldMkLst>
          <pc:docMk/>
          <pc:sldMk cId="1952203857" sldId="308"/>
        </pc:sldMkLst>
      </pc:sldChg>
      <pc:sldChg chg="addSp delSp modSp add mod delAnim modAnim modNotesTx">
        <pc:chgData name="Rick van 't Spijker" userId="05a3d4c8-0c7e-4bd4-a89b-7182dd0df68e" providerId="ADAL" clId="{36EB911C-DF9F-409D-B5DF-7D92D4802149}" dt="2023-09-14T08:12:32.639" v="2279"/>
        <pc:sldMkLst>
          <pc:docMk/>
          <pc:sldMk cId="3765552852" sldId="308"/>
        </pc:sldMkLst>
        <pc:spChg chg="add del mod">
          <ac:chgData name="Rick van 't Spijker" userId="05a3d4c8-0c7e-4bd4-a89b-7182dd0df68e" providerId="ADAL" clId="{36EB911C-DF9F-409D-B5DF-7D92D4802149}" dt="2023-09-13T12:43:00.016" v="353" actId="478"/>
          <ac:spMkLst>
            <pc:docMk/>
            <pc:sldMk cId="3765552852" sldId="308"/>
            <ac:spMk id="3" creationId="{F4C5B902-46EF-9C3F-9E47-72068CC8E060}"/>
          </ac:spMkLst>
        </pc:spChg>
        <pc:spChg chg="add del mod">
          <ac:chgData name="Rick van 't Spijker" userId="05a3d4c8-0c7e-4bd4-a89b-7182dd0df68e" providerId="ADAL" clId="{36EB911C-DF9F-409D-B5DF-7D92D4802149}" dt="2023-09-13T12:46:56.623" v="392" actId="478"/>
          <ac:spMkLst>
            <pc:docMk/>
            <pc:sldMk cId="3765552852" sldId="308"/>
            <ac:spMk id="4" creationId="{2754B508-B04B-B1AD-2733-B901F8E79086}"/>
          </ac:spMkLst>
        </pc:spChg>
        <pc:spChg chg="add del mod topLvl">
          <ac:chgData name="Rick van 't Spijker" userId="05a3d4c8-0c7e-4bd4-a89b-7182dd0df68e" providerId="ADAL" clId="{36EB911C-DF9F-409D-B5DF-7D92D4802149}" dt="2023-09-14T07:41:52.983" v="1835" actId="478"/>
          <ac:spMkLst>
            <pc:docMk/>
            <pc:sldMk cId="3765552852" sldId="308"/>
            <ac:spMk id="8" creationId="{49F94590-B21E-9FF5-7860-8905AECBB769}"/>
          </ac:spMkLst>
        </pc:spChg>
        <pc:spChg chg="del">
          <ac:chgData name="Rick van 't Spijker" userId="05a3d4c8-0c7e-4bd4-a89b-7182dd0df68e" providerId="ADAL" clId="{36EB911C-DF9F-409D-B5DF-7D92D4802149}" dt="2023-09-13T12:42:54.027" v="352" actId="478"/>
          <ac:spMkLst>
            <pc:docMk/>
            <pc:sldMk cId="3765552852" sldId="308"/>
            <ac:spMk id="9" creationId="{631E26E9-CB2D-EE2E-FA0A-C1E2D1532833}"/>
          </ac:spMkLst>
        </pc:spChg>
        <pc:spChg chg="add mod topLvl">
          <ac:chgData name="Rick van 't Spijker" userId="05a3d4c8-0c7e-4bd4-a89b-7182dd0df68e" providerId="ADAL" clId="{36EB911C-DF9F-409D-B5DF-7D92D4802149}" dt="2023-09-14T07:42:52.049" v="1842" actId="1076"/>
          <ac:spMkLst>
            <pc:docMk/>
            <pc:sldMk cId="3765552852" sldId="308"/>
            <ac:spMk id="10" creationId="{407A99C9-F635-0197-7713-6C6D7BBC0DE2}"/>
          </ac:spMkLst>
        </pc:spChg>
        <pc:spChg chg="add del mod ord">
          <ac:chgData name="Rick van 't Spijker" userId="05a3d4c8-0c7e-4bd4-a89b-7182dd0df68e" providerId="ADAL" clId="{36EB911C-DF9F-409D-B5DF-7D92D4802149}" dt="2023-09-13T14:11:09.719" v="1075" actId="478"/>
          <ac:spMkLst>
            <pc:docMk/>
            <pc:sldMk cId="3765552852" sldId="308"/>
            <ac:spMk id="11" creationId="{8FD56033-C783-3474-A41B-881635946945}"/>
          </ac:spMkLst>
        </pc:spChg>
        <pc:spChg chg="add mod topLvl">
          <ac:chgData name="Rick van 't Spijker" userId="05a3d4c8-0c7e-4bd4-a89b-7182dd0df68e" providerId="ADAL" clId="{36EB911C-DF9F-409D-B5DF-7D92D4802149}" dt="2023-09-14T07:42:52.049" v="1842" actId="1076"/>
          <ac:spMkLst>
            <pc:docMk/>
            <pc:sldMk cId="3765552852" sldId="308"/>
            <ac:spMk id="12" creationId="{58454979-DA72-BEEB-3959-87FC2585AE30}"/>
          </ac:spMkLst>
        </pc:spChg>
        <pc:spChg chg="add mod topLvl">
          <ac:chgData name="Rick van 't Spijker" userId="05a3d4c8-0c7e-4bd4-a89b-7182dd0df68e" providerId="ADAL" clId="{36EB911C-DF9F-409D-B5DF-7D92D4802149}" dt="2023-09-14T07:42:52.049" v="1842" actId="1076"/>
          <ac:spMkLst>
            <pc:docMk/>
            <pc:sldMk cId="3765552852" sldId="308"/>
            <ac:spMk id="13" creationId="{43DCE348-6B1F-F943-4DC1-FF059BFBB016}"/>
          </ac:spMkLst>
        </pc:spChg>
        <pc:spChg chg="add mod topLvl">
          <ac:chgData name="Rick van 't Spijker" userId="05a3d4c8-0c7e-4bd4-a89b-7182dd0df68e" providerId="ADAL" clId="{36EB911C-DF9F-409D-B5DF-7D92D4802149}" dt="2023-09-14T07:42:52.049" v="1842" actId="1076"/>
          <ac:spMkLst>
            <pc:docMk/>
            <pc:sldMk cId="3765552852" sldId="308"/>
            <ac:spMk id="14" creationId="{DB0A90CB-645F-04B5-7438-877F886DC654}"/>
          </ac:spMkLst>
        </pc:spChg>
        <pc:spChg chg="add mod topLvl">
          <ac:chgData name="Rick van 't Spijker" userId="05a3d4c8-0c7e-4bd4-a89b-7182dd0df68e" providerId="ADAL" clId="{36EB911C-DF9F-409D-B5DF-7D92D4802149}" dt="2023-09-14T07:59:43.043" v="1979" actId="1076"/>
          <ac:spMkLst>
            <pc:docMk/>
            <pc:sldMk cId="3765552852" sldId="308"/>
            <ac:spMk id="15" creationId="{2141B686-F691-EDE5-ED28-6C41A94642B1}"/>
          </ac:spMkLst>
        </pc:spChg>
        <pc:spChg chg="add mod topLvl">
          <ac:chgData name="Rick van 't Spijker" userId="05a3d4c8-0c7e-4bd4-a89b-7182dd0df68e" providerId="ADAL" clId="{36EB911C-DF9F-409D-B5DF-7D92D4802149}" dt="2023-09-14T08:01:16.275" v="1984" actId="1076"/>
          <ac:spMkLst>
            <pc:docMk/>
            <pc:sldMk cId="3765552852" sldId="308"/>
            <ac:spMk id="16" creationId="{BCCDC9C6-4DBC-E865-6288-D793510698ED}"/>
          </ac:spMkLst>
        </pc:spChg>
        <pc:spChg chg="add mod topLvl">
          <ac:chgData name="Rick van 't Spijker" userId="05a3d4c8-0c7e-4bd4-a89b-7182dd0df68e" providerId="ADAL" clId="{36EB911C-DF9F-409D-B5DF-7D92D4802149}" dt="2023-09-14T07:42:52.049" v="1842" actId="1076"/>
          <ac:spMkLst>
            <pc:docMk/>
            <pc:sldMk cId="3765552852" sldId="308"/>
            <ac:spMk id="17" creationId="{AFAAE928-9205-4F0B-9859-7D2910358D1A}"/>
          </ac:spMkLst>
        </pc:spChg>
        <pc:spChg chg="add del mod">
          <ac:chgData name="Rick van 't Spijker" userId="05a3d4c8-0c7e-4bd4-a89b-7182dd0df68e" providerId="ADAL" clId="{36EB911C-DF9F-409D-B5DF-7D92D4802149}" dt="2023-09-13T14:07:24.153" v="1036" actId="478"/>
          <ac:spMkLst>
            <pc:docMk/>
            <pc:sldMk cId="3765552852" sldId="308"/>
            <ac:spMk id="18" creationId="{D4092377-8C3F-383E-F43F-68FA623B4CB0}"/>
          </ac:spMkLst>
        </pc:spChg>
        <pc:spChg chg="add del mod">
          <ac:chgData name="Rick van 't Spijker" userId="05a3d4c8-0c7e-4bd4-a89b-7182dd0df68e" providerId="ADAL" clId="{36EB911C-DF9F-409D-B5DF-7D92D4802149}" dt="2023-09-13T14:11:08.472" v="1074" actId="478"/>
          <ac:spMkLst>
            <pc:docMk/>
            <pc:sldMk cId="3765552852" sldId="308"/>
            <ac:spMk id="19" creationId="{1A0AE2FB-8402-9BB4-BF65-BCB4F89A9117}"/>
          </ac:spMkLst>
        </pc:spChg>
        <pc:spChg chg="add mod topLvl">
          <ac:chgData name="Rick van 't Spijker" userId="05a3d4c8-0c7e-4bd4-a89b-7182dd0df68e" providerId="ADAL" clId="{36EB911C-DF9F-409D-B5DF-7D92D4802149}" dt="2023-09-14T07:42:52.049" v="1842" actId="1076"/>
          <ac:spMkLst>
            <pc:docMk/>
            <pc:sldMk cId="3765552852" sldId="308"/>
            <ac:spMk id="20" creationId="{1629C00B-9B8C-EFD6-FD87-21512192017B}"/>
          </ac:spMkLst>
        </pc:spChg>
        <pc:spChg chg="add del mod">
          <ac:chgData name="Rick van 't Spijker" userId="05a3d4c8-0c7e-4bd4-a89b-7182dd0df68e" providerId="ADAL" clId="{36EB911C-DF9F-409D-B5DF-7D92D4802149}" dt="2023-09-13T14:11:39.671" v="1080" actId="478"/>
          <ac:spMkLst>
            <pc:docMk/>
            <pc:sldMk cId="3765552852" sldId="308"/>
            <ac:spMk id="21" creationId="{682E6E0A-C091-3EA2-1D59-6D36FF000FA9}"/>
          </ac:spMkLst>
        </pc:spChg>
        <pc:spChg chg="add mod topLvl">
          <ac:chgData name="Rick van 't Spijker" userId="05a3d4c8-0c7e-4bd4-a89b-7182dd0df68e" providerId="ADAL" clId="{36EB911C-DF9F-409D-B5DF-7D92D4802149}" dt="2023-09-14T07:42:52.049" v="1842" actId="1076"/>
          <ac:spMkLst>
            <pc:docMk/>
            <pc:sldMk cId="3765552852" sldId="308"/>
            <ac:spMk id="22" creationId="{0CCF1A86-C306-54F5-C8B8-8A7A6BE1541D}"/>
          </ac:spMkLst>
        </pc:spChg>
        <pc:spChg chg="add del mod">
          <ac:chgData name="Rick van 't Spijker" userId="05a3d4c8-0c7e-4bd4-a89b-7182dd0df68e" providerId="ADAL" clId="{36EB911C-DF9F-409D-B5DF-7D92D4802149}" dt="2023-09-13T14:15:01.120" v="1102" actId="478"/>
          <ac:spMkLst>
            <pc:docMk/>
            <pc:sldMk cId="3765552852" sldId="308"/>
            <ac:spMk id="24" creationId="{D1995CFA-10C7-7E61-4777-C925C525FD3E}"/>
          </ac:spMkLst>
        </pc:spChg>
        <pc:spChg chg="add del">
          <ac:chgData name="Rick van 't Spijker" userId="05a3d4c8-0c7e-4bd4-a89b-7182dd0df68e" providerId="ADAL" clId="{36EB911C-DF9F-409D-B5DF-7D92D4802149}" dt="2023-09-13T14:13:26.919" v="1097" actId="478"/>
          <ac:spMkLst>
            <pc:docMk/>
            <pc:sldMk cId="3765552852" sldId="308"/>
            <ac:spMk id="25" creationId="{106958FB-3946-C3AD-B6BE-CFC7859F5BFF}"/>
          </ac:spMkLst>
        </pc:spChg>
        <pc:spChg chg="add del mod">
          <ac:chgData name="Rick van 't Spijker" userId="05a3d4c8-0c7e-4bd4-a89b-7182dd0df68e" providerId="ADAL" clId="{36EB911C-DF9F-409D-B5DF-7D92D4802149}" dt="2023-09-13T14:16:55.078" v="1116" actId="478"/>
          <ac:spMkLst>
            <pc:docMk/>
            <pc:sldMk cId="3765552852" sldId="308"/>
            <ac:spMk id="26" creationId="{C40A7C30-90B2-9191-8432-FBCFC3CAC729}"/>
          </ac:spMkLst>
        </pc:spChg>
        <pc:grpChg chg="add del mod">
          <ac:chgData name="Rick van 't Spijker" userId="05a3d4c8-0c7e-4bd4-a89b-7182dd0df68e" providerId="ADAL" clId="{36EB911C-DF9F-409D-B5DF-7D92D4802149}" dt="2023-09-13T14:11:52.973" v="1082" actId="165"/>
          <ac:grpSpMkLst>
            <pc:docMk/>
            <pc:sldMk cId="3765552852" sldId="308"/>
            <ac:grpSpMk id="23" creationId="{0E45E5C9-1814-D6D5-E517-B6FC99112D21}"/>
          </ac:grpSpMkLst>
        </pc:grpChg>
        <pc:grpChg chg="add del mod">
          <ac:chgData name="Rick van 't Spijker" userId="05a3d4c8-0c7e-4bd4-a89b-7182dd0df68e" providerId="ADAL" clId="{36EB911C-DF9F-409D-B5DF-7D92D4802149}" dt="2023-09-14T07:40:20.235" v="1833" actId="165"/>
          <ac:grpSpMkLst>
            <pc:docMk/>
            <pc:sldMk cId="3765552852" sldId="308"/>
            <ac:grpSpMk id="27" creationId="{6B506AC1-CB4A-94EA-363D-C0AFA4EAFB76}"/>
          </ac:grpSpMkLst>
        </pc:grpChg>
        <pc:picChg chg="del">
          <ac:chgData name="Rick van 't Spijker" userId="05a3d4c8-0c7e-4bd4-a89b-7182dd0df68e" providerId="ADAL" clId="{36EB911C-DF9F-409D-B5DF-7D92D4802149}" dt="2023-09-13T12:42:40.273" v="351" actId="478"/>
          <ac:picMkLst>
            <pc:docMk/>
            <pc:sldMk cId="3765552852" sldId="308"/>
            <ac:picMk id="5" creationId="{31E9BBA4-6799-32FF-530F-36462D2CD16F}"/>
          </ac:picMkLst>
        </pc:picChg>
        <pc:picChg chg="del">
          <ac:chgData name="Rick van 't Spijker" userId="05a3d4c8-0c7e-4bd4-a89b-7182dd0df68e" providerId="ADAL" clId="{36EB911C-DF9F-409D-B5DF-7D92D4802149}" dt="2023-09-13T12:42:39.353" v="350" actId="478"/>
          <ac:picMkLst>
            <pc:docMk/>
            <pc:sldMk cId="3765552852" sldId="308"/>
            <ac:picMk id="6" creationId="{4480B2E9-6DF5-236F-CD0A-63CE6225B365}"/>
          </ac:picMkLst>
        </pc:picChg>
      </pc:sldChg>
      <pc:sldChg chg="addSp delSp modSp add mod modClrScheme delAnim modAnim chgLayout modNotesTx">
        <pc:chgData name="Rick van 't Spijker" userId="05a3d4c8-0c7e-4bd4-a89b-7182dd0df68e" providerId="ADAL" clId="{36EB911C-DF9F-409D-B5DF-7D92D4802149}" dt="2023-09-18T19:39:44.105" v="3629" actId="21"/>
        <pc:sldMkLst>
          <pc:docMk/>
          <pc:sldMk cId="3854969038" sldId="309"/>
        </pc:sldMkLst>
        <pc:spChg chg="add mod">
          <ac:chgData name="Rick van 't Spijker" userId="05a3d4c8-0c7e-4bd4-a89b-7182dd0df68e" providerId="ADAL" clId="{36EB911C-DF9F-409D-B5DF-7D92D4802149}" dt="2023-09-18T19:39:44.105" v="3629" actId="21"/>
          <ac:spMkLst>
            <pc:docMk/>
            <pc:sldMk cId="3854969038" sldId="309"/>
            <ac:spMk id="3" creationId="{CA0B29AC-1CA6-44A9-278A-1998F580CCBF}"/>
          </ac:spMkLst>
        </pc:spChg>
        <pc:spChg chg="add del mod">
          <ac:chgData name="Rick van 't Spijker" userId="05a3d4c8-0c7e-4bd4-a89b-7182dd0df68e" providerId="ADAL" clId="{36EB911C-DF9F-409D-B5DF-7D92D4802149}" dt="2023-09-18T08:29:15.808" v="2648" actId="478"/>
          <ac:spMkLst>
            <pc:docMk/>
            <pc:sldMk cId="3854969038" sldId="309"/>
            <ac:spMk id="4" creationId="{D3CA1536-4DE2-B960-D162-0D38180D7BE8}"/>
          </ac:spMkLst>
        </pc:spChg>
        <pc:spChg chg="mod">
          <ac:chgData name="Rick van 't Spijker" userId="05a3d4c8-0c7e-4bd4-a89b-7182dd0df68e" providerId="ADAL" clId="{36EB911C-DF9F-409D-B5DF-7D92D4802149}" dt="2023-09-13T14:21:21.325" v="1237"/>
          <ac:spMkLst>
            <pc:docMk/>
            <pc:sldMk cId="3854969038" sldId="309"/>
            <ac:spMk id="4" creationId="{DFE963CA-2219-3919-D4A0-B07750250A2D}"/>
          </ac:spMkLst>
        </pc:spChg>
        <pc:spChg chg="mod">
          <ac:chgData name="Rick van 't Spijker" userId="05a3d4c8-0c7e-4bd4-a89b-7182dd0df68e" providerId="ADAL" clId="{36EB911C-DF9F-409D-B5DF-7D92D4802149}" dt="2023-09-13T14:21:21.325" v="1237"/>
          <ac:spMkLst>
            <pc:docMk/>
            <pc:sldMk cId="3854969038" sldId="309"/>
            <ac:spMk id="5" creationId="{29D52A7F-E630-FA3B-7FA3-6BB5B41C71C4}"/>
          </ac:spMkLst>
        </pc:spChg>
        <pc:spChg chg="mod">
          <ac:chgData name="Rick van 't Spijker" userId="05a3d4c8-0c7e-4bd4-a89b-7182dd0df68e" providerId="ADAL" clId="{36EB911C-DF9F-409D-B5DF-7D92D4802149}" dt="2023-09-13T14:21:21.325" v="1237"/>
          <ac:spMkLst>
            <pc:docMk/>
            <pc:sldMk cId="3854969038" sldId="309"/>
            <ac:spMk id="6" creationId="{DC0664B8-913E-A5F0-19F0-1855E948E65A}"/>
          </ac:spMkLst>
        </pc:spChg>
        <pc:spChg chg="mod ord">
          <ac:chgData name="Rick van 't Spijker" userId="05a3d4c8-0c7e-4bd4-a89b-7182dd0df68e" providerId="ADAL" clId="{36EB911C-DF9F-409D-B5DF-7D92D4802149}" dt="2023-09-14T07:46:05.714" v="1882"/>
          <ac:spMkLst>
            <pc:docMk/>
            <pc:sldMk cId="3854969038" sldId="309"/>
            <ac:spMk id="7" creationId="{0E637D7B-6175-3B3F-0A7E-8121021FDE90}"/>
          </ac:spMkLst>
        </pc:spChg>
        <pc:spChg chg="del">
          <ac:chgData name="Rick van 't Spijker" userId="05a3d4c8-0c7e-4bd4-a89b-7182dd0df68e" providerId="ADAL" clId="{36EB911C-DF9F-409D-B5DF-7D92D4802149}" dt="2023-09-13T14:21:37.531" v="1243" actId="478"/>
          <ac:spMkLst>
            <pc:docMk/>
            <pc:sldMk cId="3854969038" sldId="309"/>
            <ac:spMk id="8" creationId="{49F94590-B21E-9FF5-7860-8905AECBB769}"/>
          </ac:spMkLst>
        </pc:spChg>
        <pc:spChg chg="del">
          <ac:chgData name="Rick van 't Spijker" userId="05a3d4c8-0c7e-4bd4-a89b-7182dd0df68e" providerId="ADAL" clId="{36EB911C-DF9F-409D-B5DF-7D92D4802149}" dt="2023-09-13T14:21:38.831" v="1245" actId="478"/>
          <ac:spMkLst>
            <pc:docMk/>
            <pc:sldMk cId="3854969038" sldId="309"/>
            <ac:spMk id="10" creationId="{407A99C9-F635-0197-7713-6C6D7BBC0DE2}"/>
          </ac:spMkLst>
        </pc:spChg>
        <pc:spChg chg="add del mod ord">
          <ac:chgData name="Rick van 't Spijker" userId="05a3d4c8-0c7e-4bd4-a89b-7182dd0df68e" providerId="ADAL" clId="{36EB911C-DF9F-409D-B5DF-7D92D4802149}" dt="2023-09-13T14:30:39.645" v="1357" actId="700"/>
          <ac:spMkLst>
            <pc:docMk/>
            <pc:sldMk cId="3854969038" sldId="309"/>
            <ac:spMk id="11" creationId="{0A50ECDA-0421-4511-A89E-608673840AFB}"/>
          </ac:spMkLst>
        </pc:spChg>
        <pc:spChg chg="del mod">
          <ac:chgData name="Rick van 't Spijker" userId="05a3d4c8-0c7e-4bd4-a89b-7182dd0df68e" providerId="ADAL" clId="{36EB911C-DF9F-409D-B5DF-7D92D4802149}" dt="2023-09-13T14:21:44.919" v="1248" actId="478"/>
          <ac:spMkLst>
            <pc:docMk/>
            <pc:sldMk cId="3854969038" sldId="309"/>
            <ac:spMk id="12" creationId="{58454979-DA72-BEEB-3959-87FC2585AE30}"/>
          </ac:spMkLst>
        </pc:spChg>
        <pc:spChg chg="del">
          <ac:chgData name="Rick van 't Spijker" userId="05a3d4c8-0c7e-4bd4-a89b-7182dd0df68e" providerId="ADAL" clId="{36EB911C-DF9F-409D-B5DF-7D92D4802149}" dt="2023-09-13T14:21:44.919" v="1248" actId="478"/>
          <ac:spMkLst>
            <pc:docMk/>
            <pc:sldMk cId="3854969038" sldId="309"/>
            <ac:spMk id="13" creationId="{43DCE348-6B1F-F943-4DC1-FF059BFBB016}"/>
          </ac:spMkLst>
        </pc:spChg>
        <pc:spChg chg="del">
          <ac:chgData name="Rick van 't Spijker" userId="05a3d4c8-0c7e-4bd4-a89b-7182dd0df68e" providerId="ADAL" clId="{36EB911C-DF9F-409D-B5DF-7D92D4802149}" dt="2023-09-13T14:21:37.957" v="1244" actId="478"/>
          <ac:spMkLst>
            <pc:docMk/>
            <pc:sldMk cId="3854969038" sldId="309"/>
            <ac:spMk id="14" creationId="{DB0A90CB-645F-04B5-7438-877F886DC654}"/>
          </ac:spMkLst>
        </pc:spChg>
        <pc:spChg chg="del">
          <ac:chgData name="Rick van 't Spijker" userId="05a3d4c8-0c7e-4bd4-a89b-7182dd0df68e" providerId="ADAL" clId="{36EB911C-DF9F-409D-B5DF-7D92D4802149}" dt="2023-09-13T14:21:44.919" v="1248" actId="478"/>
          <ac:spMkLst>
            <pc:docMk/>
            <pc:sldMk cId="3854969038" sldId="309"/>
            <ac:spMk id="15" creationId="{2141B686-F691-EDE5-ED28-6C41A94642B1}"/>
          </ac:spMkLst>
        </pc:spChg>
        <pc:spChg chg="del mod">
          <ac:chgData name="Rick van 't Spijker" userId="05a3d4c8-0c7e-4bd4-a89b-7182dd0df68e" providerId="ADAL" clId="{36EB911C-DF9F-409D-B5DF-7D92D4802149}" dt="2023-09-13T14:21:44.919" v="1248" actId="478"/>
          <ac:spMkLst>
            <pc:docMk/>
            <pc:sldMk cId="3854969038" sldId="309"/>
            <ac:spMk id="16" creationId="{BCCDC9C6-4DBC-E865-6288-D793510698ED}"/>
          </ac:spMkLst>
        </pc:spChg>
        <pc:spChg chg="mod">
          <ac:chgData name="Rick van 't Spijker" userId="05a3d4c8-0c7e-4bd4-a89b-7182dd0df68e" providerId="ADAL" clId="{36EB911C-DF9F-409D-B5DF-7D92D4802149}" dt="2023-09-13T14:21:12.727" v="1234" actId="164"/>
          <ac:spMkLst>
            <pc:docMk/>
            <pc:sldMk cId="3854969038" sldId="309"/>
            <ac:spMk id="17" creationId="{AFAAE928-9205-4F0B-9859-7D2910358D1A}"/>
          </ac:spMkLst>
        </pc:spChg>
        <pc:spChg chg="add del mod ord">
          <ac:chgData name="Rick van 't Spijker" userId="05a3d4c8-0c7e-4bd4-a89b-7182dd0df68e" providerId="ADAL" clId="{36EB911C-DF9F-409D-B5DF-7D92D4802149}" dt="2023-09-13T14:30:39.645" v="1357" actId="700"/>
          <ac:spMkLst>
            <pc:docMk/>
            <pc:sldMk cId="3854969038" sldId="309"/>
            <ac:spMk id="18" creationId="{D7DAE130-04EE-D41E-0453-0889B45BBE0C}"/>
          </ac:spMkLst>
        </pc:spChg>
        <pc:spChg chg="add del mod ord">
          <ac:chgData name="Rick van 't Spijker" userId="05a3d4c8-0c7e-4bd4-a89b-7182dd0df68e" providerId="ADAL" clId="{36EB911C-DF9F-409D-B5DF-7D92D4802149}" dt="2023-09-13T14:43:32.129" v="1471" actId="478"/>
          <ac:spMkLst>
            <pc:docMk/>
            <pc:sldMk cId="3854969038" sldId="309"/>
            <ac:spMk id="19" creationId="{EB529088-48D6-EFA3-5E9D-F43762E3AB0B}"/>
          </ac:spMkLst>
        </pc:spChg>
        <pc:spChg chg="mod">
          <ac:chgData name="Rick van 't Spijker" userId="05a3d4c8-0c7e-4bd4-a89b-7182dd0df68e" providerId="ADAL" clId="{36EB911C-DF9F-409D-B5DF-7D92D4802149}" dt="2023-09-13T14:21:12.727" v="1234" actId="164"/>
          <ac:spMkLst>
            <pc:docMk/>
            <pc:sldMk cId="3854969038" sldId="309"/>
            <ac:spMk id="20" creationId="{1629C00B-9B8C-EFD6-FD87-21512192017B}"/>
          </ac:spMkLst>
        </pc:spChg>
        <pc:spChg chg="add del mod ord">
          <ac:chgData name="Rick van 't Spijker" userId="05a3d4c8-0c7e-4bd4-a89b-7182dd0df68e" providerId="ADAL" clId="{36EB911C-DF9F-409D-B5DF-7D92D4802149}" dt="2023-09-18T08:29:12.881" v="2647" actId="478"/>
          <ac:spMkLst>
            <pc:docMk/>
            <pc:sldMk cId="3854969038" sldId="309"/>
            <ac:spMk id="21" creationId="{D70353CB-48EF-5689-5ED9-6750FBE38DB6}"/>
          </ac:spMkLst>
        </pc:spChg>
        <pc:spChg chg="mod">
          <ac:chgData name="Rick van 't Spijker" userId="05a3d4c8-0c7e-4bd4-a89b-7182dd0df68e" providerId="ADAL" clId="{36EB911C-DF9F-409D-B5DF-7D92D4802149}" dt="2023-09-13T14:21:12.727" v="1234" actId="164"/>
          <ac:spMkLst>
            <pc:docMk/>
            <pc:sldMk cId="3854969038" sldId="309"/>
            <ac:spMk id="22" creationId="{0CCF1A86-C306-54F5-C8B8-8A7A6BE1541D}"/>
          </ac:spMkLst>
        </pc:spChg>
        <pc:grpChg chg="add del mod">
          <ac:chgData name="Rick van 't Spijker" userId="05a3d4c8-0c7e-4bd4-a89b-7182dd0df68e" providerId="ADAL" clId="{36EB911C-DF9F-409D-B5DF-7D92D4802149}" dt="2023-09-13T14:21:36.245" v="1242" actId="478"/>
          <ac:grpSpMkLst>
            <pc:docMk/>
            <pc:sldMk cId="3854969038" sldId="309"/>
            <ac:grpSpMk id="2" creationId="{DD253513-409A-8A32-B13C-D1F0C5225FBE}"/>
          </ac:grpSpMkLst>
        </pc:grpChg>
        <pc:grpChg chg="add del mod">
          <ac:chgData name="Rick van 't Spijker" userId="05a3d4c8-0c7e-4bd4-a89b-7182dd0df68e" providerId="ADAL" clId="{36EB911C-DF9F-409D-B5DF-7D92D4802149}" dt="2023-09-13T14:21:22.921" v="1238" actId="478"/>
          <ac:grpSpMkLst>
            <pc:docMk/>
            <pc:sldMk cId="3854969038" sldId="309"/>
            <ac:grpSpMk id="3" creationId="{CF477998-EFC8-900D-77B1-1A14EB3E9752}"/>
          </ac:grpSpMkLst>
        </pc:grpChg>
        <pc:picChg chg="add del mod">
          <ac:chgData name="Rick van 't Spijker" userId="05a3d4c8-0c7e-4bd4-a89b-7182dd0df68e" providerId="ADAL" clId="{36EB911C-DF9F-409D-B5DF-7D92D4802149}" dt="2023-09-18T19:27:34.629" v="3468" actId="478"/>
          <ac:picMkLst>
            <pc:docMk/>
            <pc:sldMk cId="3854969038" sldId="309"/>
            <ac:picMk id="2" creationId="{B9BB97DB-5C7B-D9B2-0197-21E658AF3BAF}"/>
          </ac:picMkLst>
        </pc:picChg>
        <pc:picChg chg="add mod">
          <ac:chgData name="Rick van 't Spijker" userId="05a3d4c8-0c7e-4bd4-a89b-7182dd0df68e" providerId="ADAL" clId="{36EB911C-DF9F-409D-B5DF-7D92D4802149}" dt="2023-09-18T19:31:27.714" v="3477" actId="1076"/>
          <ac:picMkLst>
            <pc:docMk/>
            <pc:sldMk cId="3854969038" sldId="309"/>
            <ac:picMk id="4" creationId="{6A7588F4-51C1-2266-88D8-36202B5F82AE}"/>
          </ac:picMkLst>
        </pc:picChg>
        <pc:picChg chg="add del mod">
          <ac:chgData name="Rick van 't Spijker" userId="05a3d4c8-0c7e-4bd4-a89b-7182dd0df68e" providerId="ADAL" clId="{36EB911C-DF9F-409D-B5DF-7D92D4802149}" dt="2023-09-18T08:25:52.376" v="2641" actId="478"/>
          <ac:picMkLst>
            <pc:docMk/>
            <pc:sldMk cId="3854969038" sldId="309"/>
            <ac:picMk id="9" creationId="{05CB0BD5-AECD-91D2-56E3-E6E8148B98AF}"/>
          </ac:picMkLst>
        </pc:picChg>
        <pc:picChg chg="add del mod">
          <ac:chgData name="Rick van 't Spijker" userId="05a3d4c8-0c7e-4bd4-a89b-7182dd0df68e" providerId="ADAL" clId="{36EB911C-DF9F-409D-B5DF-7D92D4802149}" dt="2023-09-13T14:40:47.832" v="1463" actId="478"/>
          <ac:picMkLst>
            <pc:docMk/>
            <pc:sldMk cId="3854969038" sldId="309"/>
            <ac:picMk id="23" creationId="{94B7611C-F118-AF08-0AC0-BFAB5B6D0B10}"/>
          </ac:picMkLst>
        </pc:picChg>
        <pc:picChg chg="add mod">
          <ac:chgData name="Rick van 't Spijker" userId="05a3d4c8-0c7e-4bd4-a89b-7182dd0df68e" providerId="ADAL" clId="{36EB911C-DF9F-409D-B5DF-7D92D4802149}" dt="2023-09-18T08:30:26.204" v="2663" actId="1076"/>
          <ac:picMkLst>
            <pc:docMk/>
            <pc:sldMk cId="3854969038" sldId="309"/>
            <ac:picMk id="24" creationId="{CCE134E6-742C-5122-08D3-7EA2ECC74610}"/>
          </ac:picMkLst>
        </pc:picChg>
      </pc:sldChg>
      <pc:sldChg chg="delSp add del mod">
        <pc:chgData name="Rick van 't Spijker" userId="05a3d4c8-0c7e-4bd4-a89b-7182dd0df68e" providerId="ADAL" clId="{36EB911C-DF9F-409D-B5DF-7D92D4802149}" dt="2023-09-14T07:55:50.753" v="1956" actId="47"/>
        <pc:sldMkLst>
          <pc:docMk/>
          <pc:sldMk cId="203696411" sldId="310"/>
        </pc:sldMkLst>
        <pc:picChg chg="del">
          <ac:chgData name="Rick van 't Spijker" userId="05a3d4c8-0c7e-4bd4-a89b-7182dd0df68e" providerId="ADAL" clId="{36EB911C-DF9F-409D-B5DF-7D92D4802149}" dt="2023-09-14T07:53:58.650" v="1955" actId="478"/>
          <ac:picMkLst>
            <pc:docMk/>
            <pc:sldMk cId="203696411" sldId="310"/>
            <ac:picMk id="2" creationId="{985C35C1-E5FB-DF73-2ADD-3492A945423C}"/>
          </ac:picMkLst>
        </pc:picChg>
      </pc:sldChg>
      <pc:sldChg chg="add del">
        <pc:chgData name="Rick van 't Spijker" userId="05a3d4c8-0c7e-4bd4-a89b-7182dd0df68e" providerId="ADAL" clId="{36EB911C-DF9F-409D-B5DF-7D92D4802149}" dt="2023-09-13T14:40:33.811" v="1461"/>
        <pc:sldMkLst>
          <pc:docMk/>
          <pc:sldMk cId="2861905552" sldId="310"/>
        </pc:sldMkLst>
      </pc:sldChg>
      <pc:sldChg chg="del">
        <pc:chgData name="Rick van 't Spijker" userId="05a3d4c8-0c7e-4bd4-a89b-7182dd0df68e" providerId="ADAL" clId="{36EB911C-DF9F-409D-B5DF-7D92D4802149}" dt="2023-09-13T12:13:01.010" v="53" actId="47"/>
        <pc:sldMkLst>
          <pc:docMk/>
          <pc:sldMk cId="3805819213" sldId="310"/>
        </pc:sldMkLst>
      </pc:sldChg>
      <pc:sldChg chg="addSp delSp modSp add mod modNotesTx">
        <pc:chgData name="Rick van 't Spijker" userId="05a3d4c8-0c7e-4bd4-a89b-7182dd0df68e" providerId="ADAL" clId="{36EB911C-DF9F-409D-B5DF-7D92D4802149}" dt="2023-09-19T09:28:10.971" v="6777" actId="1076"/>
        <pc:sldMkLst>
          <pc:docMk/>
          <pc:sldMk cId="3984738813" sldId="310"/>
        </pc:sldMkLst>
        <pc:spChg chg="mod">
          <ac:chgData name="Rick van 't Spijker" userId="05a3d4c8-0c7e-4bd4-a89b-7182dd0df68e" providerId="ADAL" clId="{36EB911C-DF9F-409D-B5DF-7D92D4802149}" dt="2023-09-14T08:03:48.012" v="1998" actId="20577"/>
          <ac:spMkLst>
            <pc:docMk/>
            <pc:sldMk cId="3984738813" sldId="310"/>
            <ac:spMk id="6" creationId="{E51B649E-1CA9-2851-3927-E936AD1E73C9}"/>
          </ac:spMkLst>
        </pc:spChg>
        <pc:spChg chg="del mod">
          <ac:chgData name="Rick van 't Spijker" userId="05a3d4c8-0c7e-4bd4-a89b-7182dd0df68e" providerId="ADAL" clId="{36EB911C-DF9F-409D-B5DF-7D92D4802149}" dt="2023-09-19T09:19:57.800" v="6172" actId="478"/>
          <ac:spMkLst>
            <pc:docMk/>
            <pc:sldMk cId="3984738813" sldId="310"/>
            <ac:spMk id="7" creationId="{E93F1C48-8AB4-051C-A23A-C9DF6329BD95}"/>
          </ac:spMkLst>
        </pc:spChg>
        <pc:spChg chg="add del mod">
          <ac:chgData name="Rick van 't Spijker" userId="05a3d4c8-0c7e-4bd4-a89b-7182dd0df68e" providerId="ADAL" clId="{36EB911C-DF9F-409D-B5DF-7D92D4802149}" dt="2023-09-19T09:20:00.679" v="6173" actId="478"/>
          <ac:spMkLst>
            <pc:docMk/>
            <pc:sldMk cId="3984738813" sldId="310"/>
            <ac:spMk id="9" creationId="{C2B46320-4CAB-1F52-18F8-B39E5085F70D}"/>
          </ac:spMkLst>
        </pc:spChg>
        <pc:picChg chg="add mod">
          <ac:chgData name="Rick van 't Spijker" userId="05a3d4c8-0c7e-4bd4-a89b-7182dd0df68e" providerId="ADAL" clId="{36EB911C-DF9F-409D-B5DF-7D92D4802149}" dt="2023-09-19T09:23:55.796" v="6218" actId="1076"/>
          <ac:picMkLst>
            <pc:docMk/>
            <pc:sldMk cId="3984738813" sldId="310"/>
            <ac:picMk id="2" creationId="{AC0767C8-88D6-165B-78EA-D54F4B8C745B}"/>
          </ac:picMkLst>
        </pc:picChg>
        <pc:picChg chg="add mod">
          <ac:chgData name="Rick van 't Spijker" userId="05a3d4c8-0c7e-4bd4-a89b-7182dd0df68e" providerId="ADAL" clId="{36EB911C-DF9F-409D-B5DF-7D92D4802149}" dt="2023-09-19T09:28:10.971" v="6777" actId="1076"/>
          <ac:picMkLst>
            <pc:docMk/>
            <pc:sldMk cId="3984738813" sldId="310"/>
            <ac:picMk id="3" creationId="{068CDC5C-B7F7-D650-E202-9B17337EF3E4}"/>
          </ac:picMkLst>
        </pc:picChg>
        <pc:picChg chg="add mod">
          <ac:chgData name="Rick van 't Spijker" userId="05a3d4c8-0c7e-4bd4-a89b-7182dd0df68e" providerId="ADAL" clId="{36EB911C-DF9F-409D-B5DF-7D92D4802149}" dt="2023-09-19T09:23:51.483" v="6215" actId="1076"/>
          <ac:picMkLst>
            <pc:docMk/>
            <pc:sldMk cId="3984738813" sldId="310"/>
            <ac:picMk id="4" creationId="{02A8544E-0804-E5B4-0728-906AC0C4464B}"/>
          </ac:picMkLst>
        </pc:picChg>
        <pc:picChg chg="add mod">
          <ac:chgData name="Rick van 't Spijker" userId="05a3d4c8-0c7e-4bd4-a89b-7182dd0df68e" providerId="ADAL" clId="{36EB911C-DF9F-409D-B5DF-7D92D4802149}" dt="2023-09-19T09:23:57.612" v="6220" actId="1076"/>
          <ac:picMkLst>
            <pc:docMk/>
            <pc:sldMk cId="3984738813" sldId="310"/>
            <ac:picMk id="5" creationId="{6E745408-2240-37B2-8306-F0507467948D}"/>
          </ac:picMkLst>
        </pc:picChg>
        <pc:picChg chg="add mod">
          <ac:chgData name="Rick van 't Spijker" userId="05a3d4c8-0c7e-4bd4-a89b-7182dd0df68e" providerId="ADAL" clId="{36EB911C-DF9F-409D-B5DF-7D92D4802149}" dt="2023-09-19T09:23:54.323" v="6217" actId="1076"/>
          <ac:picMkLst>
            <pc:docMk/>
            <pc:sldMk cId="3984738813" sldId="310"/>
            <ac:picMk id="10" creationId="{84CF7940-0EED-1B5E-48A4-7039AF2DC3D0}"/>
          </ac:picMkLst>
        </pc:picChg>
        <pc:picChg chg="add mod">
          <ac:chgData name="Rick van 't Spijker" userId="05a3d4c8-0c7e-4bd4-a89b-7182dd0df68e" providerId="ADAL" clId="{36EB911C-DF9F-409D-B5DF-7D92D4802149}" dt="2023-09-19T09:23:56.694" v="6219" actId="1076"/>
          <ac:picMkLst>
            <pc:docMk/>
            <pc:sldMk cId="3984738813" sldId="310"/>
            <ac:picMk id="11" creationId="{5675DC3C-C97A-AB69-5FAC-5112DD609DEA}"/>
          </ac:picMkLst>
        </pc:picChg>
      </pc:sldChg>
      <pc:sldChg chg="addSp delSp modSp new mod modClrScheme chgLayout modNotesTx">
        <pc:chgData name="Rick van 't Spijker" userId="05a3d4c8-0c7e-4bd4-a89b-7182dd0df68e" providerId="ADAL" clId="{36EB911C-DF9F-409D-B5DF-7D92D4802149}" dt="2023-09-18T19:43:46.660" v="3667" actId="14100"/>
        <pc:sldMkLst>
          <pc:docMk/>
          <pc:sldMk cId="2242121134" sldId="311"/>
        </pc:sldMkLst>
        <pc:spChg chg="del mod ord">
          <ac:chgData name="Rick van 't Spijker" userId="05a3d4c8-0c7e-4bd4-a89b-7182dd0df68e" providerId="ADAL" clId="{36EB911C-DF9F-409D-B5DF-7D92D4802149}" dt="2023-09-14T08:13:50.602" v="2281" actId="700"/>
          <ac:spMkLst>
            <pc:docMk/>
            <pc:sldMk cId="2242121134" sldId="311"/>
            <ac:spMk id="2" creationId="{59B13E52-F63B-6D1A-B0B1-CA7D7096AA99}"/>
          </ac:spMkLst>
        </pc:spChg>
        <pc:spChg chg="add del mod">
          <ac:chgData name="Rick van 't Spijker" userId="05a3d4c8-0c7e-4bd4-a89b-7182dd0df68e" providerId="ADAL" clId="{36EB911C-DF9F-409D-B5DF-7D92D4802149}" dt="2023-09-18T19:43:41.428" v="3665" actId="478"/>
          <ac:spMkLst>
            <pc:docMk/>
            <pc:sldMk cId="2242121134" sldId="311"/>
            <ac:spMk id="3" creationId="{0D4F8AD4-0B0A-BA47-99F3-77A04A044BC6}"/>
          </ac:spMkLst>
        </pc:spChg>
        <pc:spChg chg="del mod ord">
          <ac:chgData name="Rick van 't Spijker" userId="05a3d4c8-0c7e-4bd4-a89b-7182dd0df68e" providerId="ADAL" clId="{36EB911C-DF9F-409D-B5DF-7D92D4802149}" dt="2023-09-14T08:13:50.602" v="2281" actId="700"/>
          <ac:spMkLst>
            <pc:docMk/>
            <pc:sldMk cId="2242121134" sldId="311"/>
            <ac:spMk id="3" creationId="{C103D5B2-5DA8-1215-B410-800A6AE45536}"/>
          </ac:spMkLst>
        </pc:spChg>
        <pc:spChg chg="add mod ord">
          <ac:chgData name="Rick van 't Spijker" userId="05a3d4c8-0c7e-4bd4-a89b-7182dd0df68e" providerId="ADAL" clId="{36EB911C-DF9F-409D-B5DF-7D92D4802149}" dt="2023-09-18T19:43:46.660" v="3667" actId="14100"/>
          <ac:spMkLst>
            <pc:docMk/>
            <pc:sldMk cId="2242121134" sldId="311"/>
            <ac:spMk id="4" creationId="{24FF7E2F-9C8E-D698-8699-01BF4B589C08}"/>
          </ac:spMkLst>
        </pc:spChg>
        <pc:spChg chg="add del mod ord">
          <ac:chgData name="Rick van 't Spijker" userId="05a3d4c8-0c7e-4bd4-a89b-7182dd0df68e" providerId="ADAL" clId="{36EB911C-DF9F-409D-B5DF-7D92D4802149}" dt="2023-09-14T08:21:47.011" v="2417" actId="700"/>
          <ac:spMkLst>
            <pc:docMk/>
            <pc:sldMk cId="2242121134" sldId="311"/>
            <ac:spMk id="5" creationId="{FB2F18A9-DAF4-54A1-0391-6BC0BEBA580D}"/>
          </ac:spMkLst>
        </pc:spChg>
        <pc:spChg chg="add del mod ord">
          <ac:chgData name="Rick van 't Spijker" userId="05a3d4c8-0c7e-4bd4-a89b-7182dd0df68e" providerId="ADAL" clId="{36EB911C-DF9F-409D-B5DF-7D92D4802149}" dt="2023-09-14T08:21:47.011" v="2417" actId="700"/>
          <ac:spMkLst>
            <pc:docMk/>
            <pc:sldMk cId="2242121134" sldId="311"/>
            <ac:spMk id="6" creationId="{EE46FC2E-4BC0-2F1D-51AD-4B285C748907}"/>
          </ac:spMkLst>
        </pc:spChg>
        <pc:spChg chg="add del mod ord">
          <ac:chgData name="Rick van 't Spijker" userId="05a3d4c8-0c7e-4bd4-a89b-7182dd0df68e" providerId="ADAL" clId="{36EB911C-DF9F-409D-B5DF-7D92D4802149}" dt="2023-09-14T08:43:03.816" v="2439" actId="931"/>
          <ac:spMkLst>
            <pc:docMk/>
            <pc:sldMk cId="2242121134" sldId="311"/>
            <ac:spMk id="7" creationId="{6D56BF96-8C5F-FEEC-17A3-DA7EAECDE45D}"/>
          </ac:spMkLst>
        </pc:spChg>
        <pc:spChg chg="add del mod ord">
          <ac:chgData name="Rick van 't Spijker" userId="05a3d4c8-0c7e-4bd4-a89b-7182dd0df68e" providerId="ADAL" clId="{36EB911C-DF9F-409D-B5DF-7D92D4802149}" dt="2023-09-18T19:43:36.935" v="3664" actId="478"/>
          <ac:spMkLst>
            <pc:docMk/>
            <pc:sldMk cId="2242121134" sldId="311"/>
            <ac:spMk id="8" creationId="{A646CBFF-B516-ECFB-D336-8E48B96240A0}"/>
          </ac:spMkLst>
        </pc:spChg>
        <pc:spChg chg="add del mod">
          <ac:chgData name="Rick van 't Spijker" userId="05a3d4c8-0c7e-4bd4-a89b-7182dd0df68e" providerId="ADAL" clId="{36EB911C-DF9F-409D-B5DF-7D92D4802149}" dt="2023-09-14T08:43:26.747" v="2441" actId="478"/>
          <ac:spMkLst>
            <pc:docMk/>
            <pc:sldMk cId="2242121134" sldId="311"/>
            <ac:spMk id="15" creationId="{A52346D7-0E96-DD43-7163-CA340050D39C}"/>
          </ac:spMkLst>
        </pc:spChg>
        <pc:picChg chg="add del mod">
          <ac:chgData name="Rick van 't Spijker" userId="05a3d4c8-0c7e-4bd4-a89b-7182dd0df68e" providerId="ADAL" clId="{36EB911C-DF9F-409D-B5DF-7D92D4802149}" dt="2023-09-14T08:39:19.379" v="2432" actId="478"/>
          <ac:picMkLst>
            <pc:docMk/>
            <pc:sldMk cId="2242121134" sldId="311"/>
            <ac:picMk id="9" creationId="{2054FC7F-D1E9-7667-9A74-A724C16DA0D7}"/>
          </ac:picMkLst>
        </pc:picChg>
        <pc:picChg chg="add del mod">
          <ac:chgData name="Rick van 't Spijker" userId="05a3d4c8-0c7e-4bd4-a89b-7182dd0df68e" providerId="ADAL" clId="{36EB911C-DF9F-409D-B5DF-7D92D4802149}" dt="2023-09-14T08:42:31.955" v="2438" actId="931"/>
          <ac:picMkLst>
            <pc:docMk/>
            <pc:sldMk cId="2242121134" sldId="311"/>
            <ac:picMk id="11" creationId="{B265AC19-1BB3-6740-5C3E-59A3100FD55C}"/>
          </ac:picMkLst>
        </pc:picChg>
        <pc:picChg chg="add del mod">
          <ac:chgData name="Rick van 't Spijker" userId="05a3d4c8-0c7e-4bd4-a89b-7182dd0df68e" providerId="ADAL" clId="{36EB911C-DF9F-409D-B5DF-7D92D4802149}" dt="2023-09-14T08:43:24.317" v="2440" actId="478"/>
          <ac:picMkLst>
            <pc:docMk/>
            <pc:sldMk cId="2242121134" sldId="311"/>
            <ac:picMk id="13" creationId="{1043009E-70D8-6248-5EDD-B59D02E7B52F}"/>
          </ac:picMkLst>
        </pc:picChg>
        <pc:picChg chg="add del mod">
          <ac:chgData name="Rick van 't Spijker" userId="05a3d4c8-0c7e-4bd4-a89b-7182dd0df68e" providerId="ADAL" clId="{36EB911C-DF9F-409D-B5DF-7D92D4802149}" dt="2023-09-14T08:45:12.592" v="2445" actId="478"/>
          <ac:picMkLst>
            <pc:docMk/>
            <pc:sldMk cId="2242121134" sldId="311"/>
            <ac:picMk id="17" creationId="{5EA296F6-37E1-3E91-96A2-DF745F02C387}"/>
          </ac:picMkLst>
        </pc:picChg>
        <pc:picChg chg="add del mod">
          <ac:chgData name="Rick van 't Spijker" userId="05a3d4c8-0c7e-4bd4-a89b-7182dd0df68e" providerId="ADAL" clId="{36EB911C-DF9F-409D-B5DF-7D92D4802149}" dt="2023-09-14T08:48:38.293" v="2456" actId="478"/>
          <ac:picMkLst>
            <pc:docMk/>
            <pc:sldMk cId="2242121134" sldId="311"/>
            <ac:picMk id="18" creationId="{0FC36771-EC9F-CF90-4934-6B3B6FFEB816}"/>
          </ac:picMkLst>
        </pc:picChg>
        <pc:picChg chg="add del mod">
          <ac:chgData name="Rick van 't Spijker" userId="05a3d4c8-0c7e-4bd4-a89b-7182dd0df68e" providerId="ADAL" clId="{36EB911C-DF9F-409D-B5DF-7D92D4802149}" dt="2023-09-14T08:48:38.293" v="2456" actId="478"/>
          <ac:picMkLst>
            <pc:docMk/>
            <pc:sldMk cId="2242121134" sldId="311"/>
            <ac:picMk id="19" creationId="{4EF0FE07-C71D-E883-D7E0-2C996C57F385}"/>
          </ac:picMkLst>
        </pc:picChg>
        <pc:picChg chg="add del mod">
          <ac:chgData name="Rick van 't Spijker" userId="05a3d4c8-0c7e-4bd4-a89b-7182dd0df68e" providerId="ADAL" clId="{36EB911C-DF9F-409D-B5DF-7D92D4802149}" dt="2023-09-14T08:48:53.776" v="2458" actId="478"/>
          <ac:picMkLst>
            <pc:docMk/>
            <pc:sldMk cId="2242121134" sldId="311"/>
            <ac:picMk id="1026" creationId="{69BD9751-BF72-CA16-E7C3-6B0E28E22FD9}"/>
          </ac:picMkLst>
        </pc:picChg>
        <pc:picChg chg="add mod">
          <ac:chgData name="Rick van 't Spijker" userId="05a3d4c8-0c7e-4bd4-a89b-7182dd0df68e" providerId="ADAL" clId="{36EB911C-DF9F-409D-B5DF-7D92D4802149}" dt="2023-09-14T08:48:58.995" v="2460" actId="1076"/>
          <ac:picMkLst>
            <pc:docMk/>
            <pc:sldMk cId="2242121134" sldId="311"/>
            <ac:picMk id="1028" creationId="{B6D0C2FE-102C-18F7-E53E-908643A08F18}"/>
          </ac:picMkLst>
        </pc:picChg>
        <pc:picChg chg="add del mod">
          <ac:chgData name="Rick van 't Spijker" userId="05a3d4c8-0c7e-4bd4-a89b-7182dd0df68e" providerId="ADAL" clId="{36EB911C-DF9F-409D-B5DF-7D92D4802149}" dt="2023-09-14T08:55:29.718" v="2507" actId="21"/>
          <ac:picMkLst>
            <pc:docMk/>
            <pc:sldMk cId="2242121134" sldId="311"/>
            <ac:picMk id="1030" creationId="{9989EEC2-AE67-B28C-775A-58AB7AED6D22}"/>
          </ac:picMkLst>
        </pc:picChg>
      </pc:sldChg>
      <pc:sldChg chg="del">
        <pc:chgData name="Rick van 't Spijker" userId="05a3d4c8-0c7e-4bd4-a89b-7182dd0df68e" providerId="ADAL" clId="{36EB911C-DF9F-409D-B5DF-7D92D4802149}" dt="2023-09-13T12:13:01.010" v="53" actId="47"/>
        <pc:sldMkLst>
          <pc:docMk/>
          <pc:sldMk cId="3664883303" sldId="311"/>
        </pc:sldMkLst>
      </pc:sldChg>
      <pc:sldChg chg="addSp delSp modSp add mod modClrScheme modAnim chgLayout modNotesTx">
        <pc:chgData name="Rick van 't Spijker" userId="05a3d4c8-0c7e-4bd4-a89b-7182dd0df68e" providerId="ADAL" clId="{36EB911C-DF9F-409D-B5DF-7D92D4802149}" dt="2023-09-18T21:42:43.382" v="4684"/>
        <pc:sldMkLst>
          <pc:docMk/>
          <pc:sldMk cId="2413301749" sldId="312"/>
        </pc:sldMkLst>
        <pc:spChg chg="add del mod ord">
          <ac:chgData name="Rick van 't Spijker" userId="05a3d4c8-0c7e-4bd4-a89b-7182dd0df68e" providerId="ADAL" clId="{36EB911C-DF9F-409D-B5DF-7D92D4802149}" dt="2023-09-18T17:47:41.193" v="3467" actId="478"/>
          <ac:spMkLst>
            <pc:docMk/>
            <pc:sldMk cId="2413301749" sldId="312"/>
            <ac:spMk id="2" creationId="{A101B328-7BF4-3572-D27C-4D7FE4CF8DCD}"/>
          </ac:spMkLst>
        </pc:spChg>
        <pc:spChg chg="add del mod ord">
          <ac:chgData name="Rick van 't Spijker" userId="05a3d4c8-0c7e-4bd4-a89b-7182dd0df68e" providerId="ADAL" clId="{36EB911C-DF9F-409D-B5DF-7D92D4802149}" dt="2023-09-18T20:37:23.255" v="4033" actId="478"/>
          <ac:spMkLst>
            <pc:docMk/>
            <pc:sldMk cId="2413301749" sldId="312"/>
            <ac:spMk id="3" creationId="{ACC8F90B-4FAD-39C5-DE94-8567EB388A59}"/>
          </ac:spMkLst>
        </pc:spChg>
        <pc:spChg chg="mod ord">
          <ac:chgData name="Rick van 't Spijker" userId="05a3d4c8-0c7e-4bd4-a89b-7182dd0df68e" providerId="ADAL" clId="{36EB911C-DF9F-409D-B5DF-7D92D4802149}" dt="2023-09-18T21:08:00.652" v="4205" actId="700"/>
          <ac:spMkLst>
            <pc:docMk/>
            <pc:sldMk cId="2413301749" sldId="312"/>
            <ac:spMk id="4" creationId="{24FF7E2F-9C8E-D698-8699-01BF4B589C08}"/>
          </ac:spMkLst>
        </pc:spChg>
        <pc:spChg chg="del mod ord">
          <ac:chgData name="Rick van 't Spijker" userId="05a3d4c8-0c7e-4bd4-a89b-7182dd0df68e" providerId="ADAL" clId="{36EB911C-DF9F-409D-B5DF-7D92D4802149}" dt="2023-09-14T08:59:35.408" v="2515" actId="700"/>
          <ac:spMkLst>
            <pc:docMk/>
            <pc:sldMk cId="2413301749" sldId="312"/>
            <ac:spMk id="5" creationId="{FB2F18A9-DAF4-54A1-0391-6BC0BEBA580D}"/>
          </ac:spMkLst>
        </pc:spChg>
        <pc:spChg chg="del mod ord">
          <ac:chgData name="Rick van 't Spijker" userId="05a3d4c8-0c7e-4bd4-a89b-7182dd0df68e" providerId="ADAL" clId="{36EB911C-DF9F-409D-B5DF-7D92D4802149}" dt="2023-09-14T08:59:35.408" v="2515" actId="700"/>
          <ac:spMkLst>
            <pc:docMk/>
            <pc:sldMk cId="2413301749" sldId="312"/>
            <ac:spMk id="6" creationId="{EE46FC2E-4BC0-2F1D-51AD-4B285C748907}"/>
          </ac:spMkLst>
        </pc:spChg>
        <pc:spChg chg="add del">
          <ac:chgData name="Rick van 't Spijker" userId="05a3d4c8-0c7e-4bd4-a89b-7182dd0df68e" providerId="ADAL" clId="{36EB911C-DF9F-409D-B5DF-7D92D4802149}" dt="2023-09-18T20:36:29.376" v="4027" actId="478"/>
          <ac:spMkLst>
            <pc:docMk/>
            <pc:sldMk cId="2413301749" sldId="312"/>
            <ac:spMk id="8" creationId="{25B37068-5728-21F7-7430-93E21945465C}"/>
          </ac:spMkLst>
        </pc:spChg>
        <pc:spChg chg="add del">
          <ac:chgData name="Rick van 't Spijker" userId="05a3d4c8-0c7e-4bd4-a89b-7182dd0df68e" providerId="ADAL" clId="{36EB911C-DF9F-409D-B5DF-7D92D4802149}" dt="2023-09-18T20:36:41.832" v="4029" actId="478"/>
          <ac:spMkLst>
            <pc:docMk/>
            <pc:sldMk cId="2413301749" sldId="312"/>
            <ac:spMk id="9" creationId="{D9857ABA-4678-A13F-501F-19F7B3FA68BC}"/>
          </ac:spMkLst>
        </pc:spChg>
        <pc:spChg chg="add del mod">
          <ac:chgData name="Rick van 't Spijker" userId="05a3d4c8-0c7e-4bd4-a89b-7182dd0df68e" providerId="ADAL" clId="{36EB911C-DF9F-409D-B5DF-7D92D4802149}" dt="2023-09-18T21:06:00.178" v="4187" actId="478"/>
          <ac:spMkLst>
            <pc:docMk/>
            <pc:sldMk cId="2413301749" sldId="312"/>
            <ac:spMk id="20" creationId="{4D82FDAA-5D05-3591-3CE5-EA436F25CA93}"/>
          </ac:spMkLst>
        </pc:spChg>
        <pc:spChg chg="add mod">
          <ac:chgData name="Rick van 't Spijker" userId="05a3d4c8-0c7e-4bd4-a89b-7182dd0df68e" providerId="ADAL" clId="{36EB911C-DF9F-409D-B5DF-7D92D4802149}" dt="2023-09-18T21:06:25.850" v="4190" actId="207"/>
          <ac:spMkLst>
            <pc:docMk/>
            <pc:sldMk cId="2413301749" sldId="312"/>
            <ac:spMk id="21" creationId="{0DE9B720-09E5-DBB1-FB0C-247FB3F8A689}"/>
          </ac:spMkLst>
        </pc:spChg>
        <pc:spChg chg="add del mod">
          <ac:chgData name="Rick van 't Spijker" userId="05a3d4c8-0c7e-4bd4-a89b-7182dd0df68e" providerId="ADAL" clId="{36EB911C-DF9F-409D-B5DF-7D92D4802149}" dt="2023-09-18T21:07:37.721" v="4202" actId="767"/>
          <ac:spMkLst>
            <pc:docMk/>
            <pc:sldMk cId="2413301749" sldId="312"/>
            <ac:spMk id="27" creationId="{D59D7293-DD37-937A-4C98-41882C4A8BB7}"/>
          </ac:spMkLst>
        </pc:spChg>
        <pc:spChg chg="add del mod ord">
          <ac:chgData name="Rick van 't Spijker" userId="05a3d4c8-0c7e-4bd4-a89b-7182dd0df68e" providerId="ADAL" clId="{36EB911C-DF9F-409D-B5DF-7D92D4802149}" dt="2023-09-18T21:07:49.807" v="4204" actId="700"/>
          <ac:spMkLst>
            <pc:docMk/>
            <pc:sldMk cId="2413301749" sldId="312"/>
            <ac:spMk id="28" creationId="{AD0378A0-F186-C9B0-08AC-6EBF54BB6699}"/>
          </ac:spMkLst>
        </pc:spChg>
        <pc:spChg chg="add del mod ord">
          <ac:chgData name="Rick van 't Spijker" userId="05a3d4c8-0c7e-4bd4-a89b-7182dd0df68e" providerId="ADAL" clId="{36EB911C-DF9F-409D-B5DF-7D92D4802149}" dt="2023-09-18T21:07:49.807" v="4204" actId="700"/>
          <ac:spMkLst>
            <pc:docMk/>
            <pc:sldMk cId="2413301749" sldId="312"/>
            <ac:spMk id="29" creationId="{08A17633-A6F2-9F3A-C5B3-DD80EEE14ACD}"/>
          </ac:spMkLst>
        </pc:spChg>
        <pc:spChg chg="add del mod ord">
          <ac:chgData name="Rick van 't Spijker" userId="05a3d4c8-0c7e-4bd4-a89b-7182dd0df68e" providerId="ADAL" clId="{36EB911C-DF9F-409D-B5DF-7D92D4802149}" dt="2023-09-18T21:08:04.613" v="4206" actId="478"/>
          <ac:spMkLst>
            <pc:docMk/>
            <pc:sldMk cId="2413301749" sldId="312"/>
            <ac:spMk id="30" creationId="{F11877F6-F29F-8F54-87BD-DB0C3AEF4B83}"/>
          </ac:spMkLst>
        </pc:spChg>
        <pc:spChg chg="add mod ord">
          <ac:chgData name="Rick van 't Spijker" userId="05a3d4c8-0c7e-4bd4-a89b-7182dd0df68e" providerId="ADAL" clId="{36EB911C-DF9F-409D-B5DF-7D92D4802149}" dt="2023-09-18T21:09:55.745" v="4263" actId="20577"/>
          <ac:spMkLst>
            <pc:docMk/>
            <pc:sldMk cId="2413301749" sldId="312"/>
            <ac:spMk id="31" creationId="{7A4B9B15-604B-93AA-CF2E-C1614A543B51}"/>
          </ac:spMkLst>
        </pc:spChg>
        <pc:spChg chg="add mod">
          <ac:chgData name="Rick van 't Spijker" userId="05a3d4c8-0c7e-4bd4-a89b-7182dd0df68e" providerId="ADAL" clId="{36EB911C-DF9F-409D-B5DF-7D92D4802149}" dt="2023-09-18T21:10:42.151" v="4287" actId="1076"/>
          <ac:spMkLst>
            <pc:docMk/>
            <pc:sldMk cId="2413301749" sldId="312"/>
            <ac:spMk id="32" creationId="{B296F53B-1A12-8DAE-8371-139C8ABAD673}"/>
          </ac:spMkLst>
        </pc:spChg>
        <pc:picChg chg="add del mod">
          <ac:chgData name="Rick van 't Spijker" userId="05a3d4c8-0c7e-4bd4-a89b-7182dd0df68e" providerId="ADAL" clId="{36EB911C-DF9F-409D-B5DF-7D92D4802149}" dt="2023-09-18T21:03:05.363" v="4172" actId="478"/>
          <ac:picMkLst>
            <pc:docMk/>
            <pc:sldMk cId="2413301749" sldId="312"/>
            <ac:picMk id="5" creationId="{BF7B398C-580D-873F-5B68-15304623CF0F}"/>
          </ac:picMkLst>
        </pc:picChg>
        <pc:picChg chg="add del">
          <ac:chgData name="Rick van 't Spijker" userId="05a3d4c8-0c7e-4bd4-a89b-7182dd0df68e" providerId="ADAL" clId="{36EB911C-DF9F-409D-B5DF-7D92D4802149}" dt="2023-09-18T20:05:35.602" v="3826" actId="478"/>
          <ac:picMkLst>
            <pc:docMk/>
            <pc:sldMk cId="2413301749" sldId="312"/>
            <ac:picMk id="7" creationId="{F8EE8CEA-B182-0179-24B2-F9CDCE402827}"/>
          </ac:picMkLst>
        </pc:picChg>
        <pc:picChg chg="add mod">
          <ac:chgData name="Rick van 't Spijker" userId="05a3d4c8-0c7e-4bd4-a89b-7182dd0df68e" providerId="ADAL" clId="{36EB911C-DF9F-409D-B5DF-7D92D4802149}" dt="2023-09-18T21:04:46.835" v="4179" actId="29295"/>
          <ac:picMkLst>
            <pc:docMk/>
            <pc:sldMk cId="2413301749" sldId="312"/>
            <ac:picMk id="11" creationId="{B6E3CC65-A00F-BB8D-06EE-F5905BC2B8E0}"/>
          </ac:picMkLst>
        </pc:picChg>
        <pc:picChg chg="add del mod">
          <ac:chgData name="Rick van 't Spijker" userId="05a3d4c8-0c7e-4bd4-a89b-7182dd0df68e" providerId="ADAL" clId="{36EB911C-DF9F-409D-B5DF-7D92D4802149}" dt="2023-09-18T21:07:08.562" v="4193" actId="478"/>
          <ac:picMkLst>
            <pc:docMk/>
            <pc:sldMk cId="2413301749" sldId="312"/>
            <ac:picMk id="13" creationId="{61C14CF4-4F0A-7EA2-6DA9-ACD602A50090}"/>
          </ac:picMkLst>
        </pc:picChg>
        <pc:picChg chg="add del mod">
          <ac:chgData name="Rick van 't Spijker" userId="05a3d4c8-0c7e-4bd4-a89b-7182dd0df68e" providerId="ADAL" clId="{36EB911C-DF9F-409D-B5DF-7D92D4802149}" dt="2023-09-18T21:02:47.939" v="4169" actId="478"/>
          <ac:picMkLst>
            <pc:docMk/>
            <pc:sldMk cId="2413301749" sldId="312"/>
            <ac:picMk id="15" creationId="{25D0AE7C-D3F1-C8BA-93F6-1A8F6853701B}"/>
          </ac:picMkLst>
        </pc:picChg>
        <pc:picChg chg="add del mod">
          <ac:chgData name="Rick van 't Spijker" userId="05a3d4c8-0c7e-4bd4-a89b-7182dd0df68e" providerId="ADAL" clId="{36EB911C-DF9F-409D-B5DF-7D92D4802149}" dt="2023-09-18T21:07:12.273" v="4196" actId="478"/>
          <ac:picMkLst>
            <pc:docMk/>
            <pc:sldMk cId="2413301749" sldId="312"/>
            <ac:picMk id="16" creationId="{9A26407A-3022-9691-3E98-C50A59B6751E}"/>
          </ac:picMkLst>
        </pc:picChg>
        <pc:picChg chg="add del mod">
          <ac:chgData name="Rick van 't Spijker" userId="05a3d4c8-0c7e-4bd4-a89b-7182dd0df68e" providerId="ADAL" clId="{36EB911C-DF9F-409D-B5DF-7D92D4802149}" dt="2023-09-18T21:07:11.137" v="4195" actId="478"/>
          <ac:picMkLst>
            <pc:docMk/>
            <pc:sldMk cId="2413301749" sldId="312"/>
            <ac:picMk id="17" creationId="{A0C2C1E4-2543-CBF8-A9C4-798EA276153A}"/>
          </ac:picMkLst>
        </pc:picChg>
        <pc:picChg chg="add del mod">
          <ac:chgData name="Rick van 't Spijker" userId="05a3d4c8-0c7e-4bd4-a89b-7182dd0df68e" providerId="ADAL" clId="{36EB911C-DF9F-409D-B5DF-7D92D4802149}" dt="2023-09-18T21:07:09.761" v="4194" actId="478"/>
          <ac:picMkLst>
            <pc:docMk/>
            <pc:sldMk cId="2413301749" sldId="312"/>
            <ac:picMk id="18" creationId="{A4105A6C-91F6-149F-6960-61850372DB5C}"/>
          </ac:picMkLst>
        </pc:picChg>
        <pc:picChg chg="add mod">
          <ac:chgData name="Rick van 't Spijker" userId="05a3d4c8-0c7e-4bd4-a89b-7182dd0df68e" providerId="ADAL" clId="{36EB911C-DF9F-409D-B5DF-7D92D4802149}" dt="2023-09-18T21:05:08.190" v="4184" actId="571"/>
          <ac:picMkLst>
            <pc:docMk/>
            <pc:sldMk cId="2413301749" sldId="312"/>
            <ac:picMk id="19" creationId="{E14AD745-2B23-3351-92E1-1515A449B885}"/>
          </ac:picMkLst>
        </pc:picChg>
        <pc:picChg chg="add del mod">
          <ac:chgData name="Rick van 't Spijker" userId="05a3d4c8-0c7e-4bd4-a89b-7182dd0df68e" providerId="ADAL" clId="{36EB911C-DF9F-409D-B5DF-7D92D4802149}" dt="2023-09-18T21:07:16.433" v="4200" actId="478"/>
          <ac:picMkLst>
            <pc:docMk/>
            <pc:sldMk cId="2413301749" sldId="312"/>
            <ac:picMk id="22" creationId="{AB053781-3D0B-58D5-C145-154D2558DE03}"/>
          </ac:picMkLst>
        </pc:picChg>
        <pc:picChg chg="add del mod">
          <ac:chgData name="Rick van 't Spijker" userId="05a3d4c8-0c7e-4bd4-a89b-7182dd0df68e" providerId="ADAL" clId="{36EB911C-DF9F-409D-B5DF-7D92D4802149}" dt="2023-09-18T21:07:13.792" v="4197" actId="478"/>
          <ac:picMkLst>
            <pc:docMk/>
            <pc:sldMk cId="2413301749" sldId="312"/>
            <ac:picMk id="23" creationId="{BD9A7386-88C8-CD7A-0792-489E88DC7175}"/>
          </ac:picMkLst>
        </pc:picChg>
        <pc:picChg chg="add del mod">
          <ac:chgData name="Rick van 't Spijker" userId="05a3d4c8-0c7e-4bd4-a89b-7182dd0df68e" providerId="ADAL" clId="{36EB911C-DF9F-409D-B5DF-7D92D4802149}" dt="2023-09-18T21:07:14.512" v="4198" actId="478"/>
          <ac:picMkLst>
            <pc:docMk/>
            <pc:sldMk cId="2413301749" sldId="312"/>
            <ac:picMk id="24" creationId="{1222A419-3383-F381-5806-FB0540AEE7B6}"/>
          </ac:picMkLst>
        </pc:picChg>
        <pc:picChg chg="add del mod">
          <ac:chgData name="Rick van 't Spijker" userId="05a3d4c8-0c7e-4bd4-a89b-7182dd0df68e" providerId="ADAL" clId="{36EB911C-DF9F-409D-B5DF-7D92D4802149}" dt="2023-09-18T21:07:15.617" v="4199" actId="478"/>
          <ac:picMkLst>
            <pc:docMk/>
            <pc:sldMk cId="2413301749" sldId="312"/>
            <ac:picMk id="25" creationId="{5C80C1E2-82B5-EB99-7D66-0F3F931A84DE}"/>
          </ac:picMkLst>
        </pc:picChg>
        <pc:picChg chg="add mod">
          <ac:chgData name="Rick van 't Spijker" userId="05a3d4c8-0c7e-4bd4-a89b-7182dd0df68e" providerId="ADAL" clId="{36EB911C-DF9F-409D-B5DF-7D92D4802149}" dt="2023-09-18T21:06:58.906" v="4192" actId="571"/>
          <ac:picMkLst>
            <pc:docMk/>
            <pc:sldMk cId="2413301749" sldId="312"/>
            <ac:picMk id="26" creationId="{DEFCEF56-EBF3-0CF9-1E16-D73E81F020D4}"/>
          </ac:picMkLst>
        </pc:picChg>
        <pc:picChg chg="add mod">
          <ac:chgData name="Rick van 't Spijker" userId="05a3d4c8-0c7e-4bd4-a89b-7182dd0df68e" providerId="ADAL" clId="{36EB911C-DF9F-409D-B5DF-7D92D4802149}" dt="2023-09-18T21:10:59.134" v="4288" actId="571"/>
          <ac:picMkLst>
            <pc:docMk/>
            <pc:sldMk cId="2413301749" sldId="312"/>
            <ac:picMk id="33" creationId="{FA290241-CD2C-FE02-3D95-B258C6D06CE4}"/>
          </ac:picMkLst>
        </pc:picChg>
        <pc:picChg chg="add mod">
          <ac:chgData name="Rick van 't Spijker" userId="05a3d4c8-0c7e-4bd4-a89b-7182dd0df68e" providerId="ADAL" clId="{36EB911C-DF9F-409D-B5DF-7D92D4802149}" dt="2023-09-18T21:11:06.210" v="4289" actId="571"/>
          <ac:picMkLst>
            <pc:docMk/>
            <pc:sldMk cId="2413301749" sldId="312"/>
            <ac:picMk id="34" creationId="{07FD2334-566A-6864-3E18-ED0371CB3C24}"/>
          </ac:picMkLst>
        </pc:picChg>
        <pc:picChg chg="add mod">
          <ac:chgData name="Rick van 't Spijker" userId="05a3d4c8-0c7e-4bd4-a89b-7182dd0df68e" providerId="ADAL" clId="{36EB911C-DF9F-409D-B5DF-7D92D4802149}" dt="2023-09-18T21:13:27.217" v="4295" actId="1076"/>
          <ac:picMkLst>
            <pc:docMk/>
            <pc:sldMk cId="2413301749" sldId="312"/>
            <ac:picMk id="36" creationId="{B547DCCC-11BE-65E0-C8CF-5D08ECF79D1F}"/>
          </ac:picMkLst>
        </pc:picChg>
      </pc:sldChg>
      <pc:sldChg chg="addSp delSp modSp add mod modAnim">
        <pc:chgData name="Rick van 't Spijker" userId="05a3d4c8-0c7e-4bd4-a89b-7182dd0df68e" providerId="ADAL" clId="{36EB911C-DF9F-409D-B5DF-7D92D4802149}" dt="2023-09-19T09:55:54.100" v="6976" actId="1076"/>
        <pc:sldMkLst>
          <pc:docMk/>
          <pc:sldMk cId="3181418937" sldId="313"/>
        </pc:sldMkLst>
        <pc:spChg chg="mod">
          <ac:chgData name="Rick van 't Spijker" userId="05a3d4c8-0c7e-4bd4-a89b-7182dd0df68e" providerId="ADAL" clId="{36EB911C-DF9F-409D-B5DF-7D92D4802149}" dt="2023-09-14T08:15:36.969" v="2353" actId="20577"/>
          <ac:spMkLst>
            <pc:docMk/>
            <pc:sldMk cId="3181418937" sldId="313"/>
            <ac:spMk id="4" creationId="{24FF7E2F-9C8E-D698-8699-01BF4B589C08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5" creationId="{0B76A1FC-996E-05D5-9237-C8B51DB7C1CE}"/>
          </ac:spMkLst>
        </pc:spChg>
        <pc:spChg chg="del">
          <ac:chgData name="Rick van 't Spijker" userId="05a3d4c8-0c7e-4bd4-a89b-7182dd0df68e" providerId="ADAL" clId="{36EB911C-DF9F-409D-B5DF-7D92D4802149}" dt="2023-09-18T20:27:39.886" v="4010" actId="478"/>
          <ac:spMkLst>
            <pc:docMk/>
            <pc:sldMk cId="3181418937" sldId="313"/>
            <ac:spMk id="5" creationId="{FB2F18A9-DAF4-54A1-0391-6BC0BEBA580D}"/>
          </ac:spMkLst>
        </pc:spChg>
        <pc:spChg chg="del">
          <ac:chgData name="Rick van 't Spijker" userId="05a3d4c8-0c7e-4bd4-a89b-7182dd0df68e" providerId="ADAL" clId="{36EB911C-DF9F-409D-B5DF-7D92D4802149}" dt="2023-09-18T20:27:42.762" v="4011" actId="478"/>
          <ac:spMkLst>
            <pc:docMk/>
            <pc:sldMk cId="3181418937" sldId="313"/>
            <ac:spMk id="6" creationId="{EE46FC2E-4BC0-2F1D-51AD-4B285C748907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7" creationId="{B4AD3015-36E8-149F-D2D2-96EA5EB00095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8" creationId="{9F3DF961-E5AE-7FE7-966C-B2B2895CED2D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9" creationId="{BAE67129-0100-77C6-A291-08C488313868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10" creationId="{98F33BBB-2E1F-88B3-972B-566604446344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11" creationId="{C081E37A-A6AD-6CD4-DBB2-9755D335A2E2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12" creationId="{664A6CC7-7517-691B-6248-A16D4F6D3F0D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13" creationId="{61215A5D-08DA-4D5B-FE58-240F6F7C2EB5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14" creationId="{54562A56-C4D3-8E95-D32F-00090E7E50BC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15" creationId="{F09DBA1C-71D2-0B83-4676-13F28573AE31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26" creationId="{7E2D16CB-6469-C789-F688-46354337C3CE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27" creationId="{3A415A2B-0099-CD46-B726-700620B0976A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28" creationId="{9385F929-3A7E-2624-3759-583E41B4640E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30" creationId="{67CA2EE5-551B-7724-D548-9F32E7BF100D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31" creationId="{39202E70-F2E9-ED87-2E8D-24CB3352C059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33" creationId="{D8469364-1C5E-E1E0-A93A-034B5D72ED03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34" creationId="{60187B8D-2A37-5725-037B-487C0B8A6184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35" creationId="{E89B88E8-298E-99D0-B46E-A762ED567A82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36" creationId="{47189163-1AA9-6B45-502C-D47E0CE0A459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37" creationId="{209A78C2-70B7-2971-349A-096535F4F8AE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38" creationId="{DE095EDC-714C-57A3-767A-3FE663DAA1F5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41" creationId="{24E93EE8-386C-74C7-4BFC-92B9055A7AD6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42" creationId="{6C13B9AA-2921-A9AD-341C-6CBB31CCCB44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43" creationId="{05D5A35F-6603-2C57-447F-94B50FE55173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44" creationId="{8E16FB0E-02B3-F837-C93E-34A3F78E65C5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45" creationId="{6F6BB34B-AA87-5DFF-20F1-DF293442FC2E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46" creationId="{AB12C740-963B-DD96-68FC-EDD291F07C39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55" creationId="{18142537-08D6-6ABB-001C-16A238D7D018}"/>
          </ac:spMkLst>
        </pc:spChg>
        <pc:spChg chg="add del mod">
          <ac:chgData name="Rick van 't Spijker" userId="05a3d4c8-0c7e-4bd4-a89b-7182dd0df68e" providerId="ADAL" clId="{36EB911C-DF9F-409D-B5DF-7D92D4802149}" dt="2023-09-19T09:51:20.925" v="6946"/>
          <ac:spMkLst>
            <pc:docMk/>
            <pc:sldMk cId="3181418937" sldId="313"/>
            <ac:spMk id="56" creationId="{7EA6A549-B102-4DB2-E79A-7CC7827D0D5B}"/>
          </ac:spMkLst>
        </pc:spChg>
        <pc:spChg chg="add mod">
          <ac:chgData name="Rick van 't Spijker" userId="05a3d4c8-0c7e-4bd4-a89b-7182dd0df68e" providerId="ADAL" clId="{36EB911C-DF9F-409D-B5DF-7D92D4802149}" dt="2023-09-19T09:51:44.863" v="6947"/>
          <ac:spMkLst>
            <pc:docMk/>
            <pc:sldMk cId="3181418937" sldId="313"/>
            <ac:spMk id="58" creationId="{3B4BD4C0-C2B3-98BD-B6B5-91FB78D905DF}"/>
          </ac:spMkLst>
        </pc:spChg>
        <pc:spChg chg="add mod">
          <ac:chgData name="Rick van 't Spijker" userId="05a3d4c8-0c7e-4bd4-a89b-7182dd0df68e" providerId="ADAL" clId="{36EB911C-DF9F-409D-B5DF-7D92D4802149}" dt="2023-09-19T09:51:44.863" v="6947"/>
          <ac:spMkLst>
            <pc:docMk/>
            <pc:sldMk cId="3181418937" sldId="313"/>
            <ac:spMk id="60" creationId="{A42E5209-BCA0-94E0-A3AB-89DD7BC60F7A}"/>
          </ac:spMkLst>
        </pc:spChg>
        <pc:spChg chg="add mod">
          <ac:chgData name="Rick van 't Spijker" userId="05a3d4c8-0c7e-4bd4-a89b-7182dd0df68e" providerId="ADAL" clId="{36EB911C-DF9F-409D-B5DF-7D92D4802149}" dt="2023-09-19T09:51:44.863" v="6947"/>
          <ac:spMkLst>
            <pc:docMk/>
            <pc:sldMk cId="3181418937" sldId="313"/>
            <ac:spMk id="61" creationId="{F66A5588-3C3F-6B24-44B1-D711F918266C}"/>
          </ac:spMkLst>
        </pc:spChg>
        <pc:spChg chg="add mod">
          <ac:chgData name="Rick van 't Spijker" userId="05a3d4c8-0c7e-4bd4-a89b-7182dd0df68e" providerId="ADAL" clId="{36EB911C-DF9F-409D-B5DF-7D92D4802149}" dt="2023-09-19T09:51:44.863" v="6947"/>
          <ac:spMkLst>
            <pc:docMk/>
            <pc:sldMk cId="3181418937" sldId="313"/>
            <ac:spMk id="62" creationId="{89D6637C-4A29-2EB2-2CD1-DC9DA6FD9231}"/>
          </ac:spMkLst>
        </pc:spChg>
        <pc:spChg chg="add mod">
          <ac:chgData name="Rick van 't Spijker" userId="05a3d4c8-0c7e-4bd4-a89b-7182dd0df68e" providerId="ADAL" clId="{36EB911C-DF9F-409D-B5DF-7D92D4802149}" dt="2023-09-19T09:55:54.100" v="6976" actId="1076"/>
          <ac:spMkLst>
            <pc:docMk/>
            <pc:sldMk cId="3181418937" sldId="313"/>
            <ac:spMk id="63" creationId="{F292F074-F40B-6C68-E0A0-934A4384F6F5}"/>
          </ac:spMkLst>
        </pc:spChg>
        <pc:spChg chg="add mod">
          <ac:chgData name="Rick van 't Spijker" userId="05a3d4c8-0c7e-4bd4-a89b-7182dd0df68e" providerId="ADAL" clId="{36EB911C-DF9F-409D-B5DF-7D92D4802149}" dt="2023-09-19T09:55:54.100" v="6976" actId="1076"/>
          <ac:spMkLst>
            <pc:docMk/>
            <pc:sldMk cId="3181418937" sldId="313"/>
            <ac:spMk id="64" creationId="{1A91A463-2FE4-4503-D15F-5AAAEBD91D42}"/>
          </ac:spMkLst>
        </pc:spChg>
        <pc:spChg chg="add mod">
          <ac:chgData name="Rick van 't Spijker" userId="05a3d4c8-0c7e-4bd4-a89b-7182dd0df68e" providerId="ADAL" clId="{36EB911C-DF9F-409D-B5DF-7D92D4802149}" dt="2023-09-19T09:55:54.100" v="6976" actId="1076"/>
          <ac:spMkLst>
            <pc:docMk/>
            <pc:sldMk cId="3181418937" sldId="313"/>
            <ac:spMk id="65" creationId="{CEE89CC6-3B8B-75EA-DBFC-2759CE47475E}"/>
          </ac:spMkLst>
        </pc:spChg>
        <pc:spChg chg="add mod">
          <ac:chgData name="Rick van 't Spijker" userId="05a3d4c8-0c7e-4bd4-a89b-7182dd0df68e" providerId="ADAL" clId="{36EB911C-DF9F-409D-B5DF-7D92D4802149}" dt="2023-09-19T09:51:44.863" v="6947"/>
          <ac:spMkLst>
            <pc:docMk/>
            <pc:sldMk cId="3181418937" sldId="313"/>
            <ac:spMk id="66" creationId="{E6982772-E358-4167-28C3-AE66F1050ADC}"/>
          </ac:spMkLst>
        </pc:spChg>
        <pc:spChg chg="add mod">
          <ac:chgData name="Rick van 't Spijker" userId="05a3d4c8-0c7e-4bd4-a89b-7182dd0df68e" providerId="ADAL" clId="{36EB911C-DF9F-409D-B5DF-7D92D4802149}" dt="2023-09-19T09:55:54.100" v="6976" actId="1076"/>
          <ac:spMkLst>
            <pc:docMk/>
            <pc:sldMk cId="3181418937" sldId="313"/>
            <ac:spMk id="67" creationId="{542804FA-0286-AD3A-E564-9CAEBAA938D3}"/>
          </ac:spMkLst>
        </pc:spChg>
        <pc:spChg chg="add mod">
          <ac:chgData name="Rick van 't Spijker" userId="05a3d4c8-0c7e-4bd4-a89b-7182dd0df68e" providerId="ADAL" clId="{36EB911C-DF9F-409D-B5DF-7D92D4802149}" dt="2023-09-19T09:51:44.863" v="6947"/>
          <ac:spMkLst>
            <pc:docMk/>
            <pc:sldMk cId="3181418937" sldId="313"/>
            <ac:spMk id="68" creationId="{37AE746B-7ABF-2811-35B8-FB413B0CF92F}"/>
          </ac:spMkLst>
        </pc:spChg>
        <pc:spChg chg="add mod">
          <ac:chgData name="Rick van 't Spijker" userId="05a3d4c8-0c7e-4bd4-a89b-7182dd0df68e" providerId="ADAL" clId="{36EB911C-DF9F-409D-B5DF-7D92D4802149}" dt="2023-09-19T09:51:44.863" v="6947"/>
          <ac:spMkLst>
            <pc:docMk/>
            <pc:sldMk cId="3181418937" sldId="313"/>
            <ac:spMk id="79" creationId="{A50B3069-2921-EDE2-E769-C9B7666F09C8}"/>
          </ac:spMkLst>
        </pc:spChg>
        <pc:spChg chg="add mod">
          <ac:chgData name="Rick van 't Spijker" userId="05a3d4c8-0c7e-4bd4-a89b-7182dd0df68e" providerId="ADAL" clId="{36EB911C-DF9F-409D-B5DF-7D92D4802149}" dt="2023-09-19T09:51:44.863" v="6947"/>
          <ac:spMkLst>
            <pc:docMk/>
            <pc:sldMk cId="3181418937" sldId="313"/>
            <ac:spMk id="80" creationId="{81154C45-9305-70F3-67D3-0C9F19D30924}"/>
          </ac:spMkLst>
        </pc:spChg>
        <pc:spChg chg="add mod">
          <ac:chgData name="Rick van 't Spijker" userId="05a3d4c8-0c7e-4bd4-a89b-7182dd0df68e" providerId="ADAL" clId="{36EB911C-DF9F-409D-B5DF-7D92D4802149}" dt="2023-09-19T09:51:44.863" v="6947"/>
          <ac:spMkLst>
            <pc:docMk/>
            <pc:sldMk cId="3181418937" sldId="313"/>
            <ac:spMk id="81" creationId="{E013139A-95E1-0918-A1D3-9521F0BF00DA}"/>
          </ac:spMkLst>
        </pc:spChg>
        <pc:spChg chg="add mod">
          <ac:chgData name="Rick van 't Spijker" userId="05a3d4c8-0c7e-4bd4-a89b-7182dd0df68e" providerId="ADAL" clId="{36EB911C-DF9F-409D-B5DF-7D92D4802149}" dt="2023-09-19T09:55:54.100" v="6976" actId="1076"/>
          <ac:spMkLst>
            <pc:docMk/>
            <pc:sldMk cId="3181418937" sldId="313"/>
            <ac:spMk id="83" creationId="{CCB77727-16F4-D527-A2A2-D4D724E4E336}"/>
          </ac:spMkLst>
        </pc:spChg>
        <pc:spChg chg="add mod">
          <ac:chgData name="Rick van 't Spijker" userId="05a3d4c8-0c7e-4bd4-a89b-7182dd0df68e" providerId="ADAL" clId="{36EB911C-DF9F-409D-B5DF-7D92D4802149}" dt="2023-09-19T09:55:54.100" v="6976" actId="1076"/>
          <ac:spMkLst>
            <pc:docMk/>
            <pc:sldMk cId="3181418937" sldId="313"/>
            <ac:spMk id="84" creationId="{5CB2E9BF-66FE-31B8-A315-1E0F47D31F4A}"/>
          </ac:spMkLst>
        </pc:spChg>
        <pc:spChg chg="add mod">
          <ac:chgData name="Rick van 't Spijker" userId="05a3d4c8-0c7e-4bd4-a89b-7182dd0df68e" providerId="ADAL" clId="{36EB911C-DF9F-409D-B5DF-7D92D4802149}" dt="2023-09-19T09:55:54.100" v="6976" actId="1076"/>
          <ac:spMkLst>
            <pc:docMk/>
            <pc:sldMk cId="3181418937" sldId="313"/>
            <ac:spMk id="86" creationId="{166A7DD5-0212-D46B-D271-E6C0903A9CD1}"/>
          </ac:spMkLst>
        </pc:spChg>
        <pc:spChg chg="add mod">
          <ac:chgData name="Rick van 't Spijker" userId="05a3d4c8-0c7e-4bd4-a89b-7182dd0df68e" providerId="ADAL" clId="{36EB911C-DF9F-409D-B5DF-7D92D4802149}" dt="2023-09-19T09:55:54.100" v="6976" actId="1076"/>
          <ac:spMkLst>
            <pc:docMk/>
            <pc:sldMk cId="3181418937" sldId="313"/>
            <ac:spMk id="87" creationId="{12478907-D8E7-2A77-46E2-724546D9A149}"/>
          </ac:spMkLst>
        </pc:spChg>
        <pc:spChg chg="add mod">
          <ac:chgData name="Rick van 't Spijker" userId="05a3d4c8-0c7e-4bd4-a89b-7182dd0df68e" providerId="ADAL" clId="{36EB911C-DF9F-409D-B5DF-7D92D4802149}" dt="2023-09-19T09:55:54.100" v="6976" actId="1076"/>
          <ac:spMkLst>
            <pc:docMk/>
            <pc:sldMk cId="3181418937" sldId="313"/>
            <ac:spMk id="88" creationId="{5A51485B-1A22-5A59-7BC6-EADE9EBB287E}"/>
          </ac:spMkLst>
        </pc:spChg>
        <pc:spChg chg="add mod">
          <ac:chgData name="Rick van 't Spijker" userId="05a3d4c8-0c7e-4bd4-a89b-7182dd0df68e" providerId="ADAL" clId="{36EB911C-DF9F-409D-B5DF-7D92D4802149}" dt="2023-09-19T09:51:44.863" v="6947"/>
          <ac:spMkLst>
            <pc:docMk/>
            <pc:sldMk cId="3181418937" sldId="313"/>
            <ac:spMk id="89" creationId="{613C0E92-717E-970B-4303-BF9639AB0937}"/>
          </ac:spMkLst>
        </pc:spChg>
        <pc:spChg chg="add mod">
          <ac:chgData name="Rick van 't Spijker" userId="05a3d4c8-0c7e-4bd4-a89b-7182dd0df68e" providerId="ADAL" clId="{36EB911C-DF9F-409D-B5DF-7D92D4802149}" dt="2023-09-19T09:51:44.863" v="6947"/>
          <ac:spMkLst>
            <pc:docMk/>
            <pc:sldMk cId="3181418937" sldId="313"/>
            <ac:spMk id="90" creationId="{86E962F5-BE9A-75BA-73A9-8E986174635C}"/>
          </ac:spMkLst>
        </pc:spChg>
        <pc:spChg chg="add mod">
          <ac:chgData name="Rick van 't Spijker" userId="05a3d4c8-0c7e-4bd4-a89b-7182dd0df68e" providerId="ADAL" clId="{36EB911C-DF9F-409D-B5DF-7D92D4802149}" dt="2023-09-19T09:51:44.863" v="6947"/>
          <ac:spMkLst>
            <pc:docMk/>
            <pc:sldMk cId="3181418937" sldId="313"/>
            <ac:spMk id="91" creationId="{4D681694-6324-24E1-0E94-194650646893}"/>
          </ac:spMkLst>
        </pc:spChg>
        <pc:spChg chg="add mod">
          <ac:chgData name="Rick van 't Spijker" userId="05a3d4c8-0c7e-4bd4-a89b-7182dd0df68e" providerId="ADAL" clId="{36EB911C-DF9F-409D-B5DF-7D92D4802149}" dt="2023-09-19T09:55:54.100" v="6976" actId="1076"/>
          <ac:spMkLst>
            <pc:docMk/>
            <pc:sldMk cId="3181418937" sldId="313"/>
            <ac:spMk id="94" creationId="{119FEB6E-BDB8-DA30-014C-EEA6F05ADA5B}"/>
          </ac:spMkLst>
        </pc:spChg>
        <pc:spChg chg="add mod">
          <ac:chgData name="Rick van 't Spijker" userId="05a3d4c8-0c7e-4bd4-a89b-7182dd0df68e" providerId="ADAL" clId="{36EB911C-DF9F-409D-B5DF-7D92D4802149}" dt="2023-09-19T09:55:54.100" v="6976" actId="1076"/>
          <ac:spMkLst>
            <pc:docMk/>
            <pc:sldMk cId="3181418937" sldId="313"/>
            <ac:spMk id="95" creationId="{288D14BF-FA05-3A5A-7678-763B0E890713}"/>
          </ac:spMkLst>
        </pc:spChg>
        <pc:spChg chg="add mod">
          <ac:chgData name="Rick van 't Spijker" userId="05a3d4c8-0c7e-4bd4-a89b-7182dd0df68e" providerId="ADAL" clId="{36EB911C-DF9F-409D-B5DF-7D92D4802149}" dt="2023-09-19T09:55:54.100" v="6976" actId="1076"/>
          <ac:spMkLst>
            <pc:docMk/>
            <pc:sldMk cId="3181418937" sldId="313"/>
            <ac:spMk id="96" creationId="{1CF41B77-1E08-400D-8BBD-460765E16368}"/>
          </ac:spMkLst>
        </pc:spChg>
        <pc:spChg chg="add mod">
          <ac:chgData name="Rick van 't Spijker" userId="05a3d4c8-0c7e-4bd4-a89b-7182dd0df68e" providerId="ADAL" clId="{36EB911C-DF9F-409D-B5DF-7D92D4802149}" dt="2023-09-19T09:55:54.100" v="6976" actId="1076"/>
          <ac:spMkLst>
            <pc:docMk/>
            <pc:sldMk cId="3181418937" sldId="313"/>
            <ac:spMk id="97" creationId="{CEE3B3C1-8726-7FEC-585C-A4C64BE6828E}"/>
          </ac:spMkLst>
        </pc:spChg>
        <pc:spChg chg="add mod">
          <ac:chgData name="Rick van 't Spijker" userId="05a3d4c8-0c7e-4bd4-a89b-7182dd0df68e" providerId="ADAL" clId="{36EB911C-DF9F-409D-B5DF-7D92D4802149}" dt="2023-09-19T09:55:54.100" v="6976" actId="1076"/>
          <ac:spMkLst>
            <pc:docMk/>
            <pc:sldMk cId="3181418937" sldId="313"/>
            <ac:spMk id="98" creationId="{2F238391-26EC-005A-EEC7-94218741206D}"/>
          </ac:spMkLst>
        </pc:spChg>
        <pc:spChg chg="add mod">
          <ac:chgData name="Rick van 't Spijker" userId="05a3d4c8-0c7e-4bd4-a89b-7182dd0df68e" providerId="ADAL" clId="{36EB911C-DF9F-409D-B5DF-7D92D4802149}" dt="2023-09-19T09:51:44.863" v="6947"/>
          <ac:spMkLst>
            <pc:docMk/>
            <pc:sldMk cId="3181418937" sldId="313"/>
            <ac:spMk id="99" creationId="{0E1FB280-026C-9B8A-52B3-635848B01598}"/>
          </ac:spMkLst>
        </pc:spChg>
        <pc:spChg chg="add mod">
          <ac:chgData name="Rick van 't Spijker" userId="05a3d4c8-0c7e-4bd4-a89b-7182dd0df68e" providerId="ADAL" clId="{36EB911C-DF9F-409D-B5DF-7D92D4802149}" dt="2023-09-19T09:55:54.100" v="6976" actId="1076"/>
          <ac:spMkLst>
            <pc:docMk/>
            <pc:sldMk cId="3181418937" sldId="313"/>
            <ac:spMk id="108" creationId="{A9AEB9EE-4408-190A-1998-3DF85C09ACD3}"/>
          </ac:spMkLst>
        </pc:spChg>
        <pc:picChg chg="add del mod">
          <ac:chgData name="Rick van 't Spijker" userId="05a3d4c8-0c7e-4bd4-a89b-7182dd0df68e" providerId="ADAL" clId="{36EB911C-DF9F-409D-B5DF-7D92D4802149}" dt="2023-09-19T09:50:31.249" v="6944" actId="478"/>
          <ac:picMkLst>
            <pc:docMk/>
            <pc:sldMk cId="3181418937" sldId="313"/>
            <ac:picMk id="2" creationId="{EA456B67-A5E7-EF63-0911-B662504F580B}"/>
          </ac:picMkLst>
        </pc:picChg>
        <pc:picChg chg="add del mod">
          <ac:chgData name="Rick van 't Spijker" userId="05a3d4c8-0c7e-4bd4-a89b-7182dd0df68e" providerId="ADAL" clId="{36EB911C-DF9F-409D-B5DF-7D92D4802149}" dt="2023-09-19T09:50:30.435" v="6943" actId="478"/>
          <ac:picMkLst>
            <pc:docMk/>
            <pc:sldMk cId="3181418937" sldId="313"/>
            <ac:picMk id="3" creationId="{D51EC352-11B1-3847-7224-A5B65C0EA219}"/>
          </ac:picMkLst>
        </pc:picChg>
        <pc:picChg chg="add del mod">
          <ac:chgData name="Rick van 't Spijker" userId="05a3d4c8-0c7e-4bd4-a89b-7182dd0df68e" providerId="ADAL" clId="{36EB911C-DF9F-409D-B5DF-7D92D4802149}" dt="2023-09-19T09:51:20.925" v="6946"/>
          <ac:picMkLst>
            <pc:docMk/>
            <pc:sldMk cId="3181418937" sldId="313"/>
            <ac:picMk id="6" creationId="{083DFD79-C176-7C50-779C-52CE2F31223C}"/>
          </ac:picMkLst>
        </pc:picChg>
        <pc:picChg chg="add del mod">
          <ac:chgData name="Rick van 't Spijker" userId="05a3d4c8-0c7e-4bd4-a89b-7182dd0df68e" providerId="ADAL" clId="{36EB911C-DF9F-409D-B5DF-7D92D4802149}" dt="2023-09-19T09:51:20.925" v="6946"/>
          <ac:picMkLst>
            <pc:docMk/>
            <pc:sldMk cId="3181418937" sldId="313"/>
            <ac:picMk id="16" creationId="{050519D6-1C1F-2D8B-2D6A-ED1C7A9E5F0E}"/>
          </ac:picMkLst>
        </pc:picChg>
        <pc:picChg chg="add del mod">
          <ac:chgData name="Rick van 't Spijker" userId="05a3d4c8-0c7e-4bd4-a89b-7182dd0df68e" providerId="ADAL" clId="{36EB911C-DF9F-409D-B5DF-7D92D4802149}" dt="2023-09-19T09:51:20.925" v="6946"/>
          <ac:picMkLst>
            <pc:docMk/>
            <pc:sldMk cId="3181418937" sldId="313"/>
            <ac:picMk id="17" creationId="{E8618CC0-2E73-22D7-4D16-502B2BB59A3D}"/>
          </ac:picMkLst>
        </pc:picChg>
        <pc:picChg chg="add del mod">
          <ac:chgData name="Rick van 't Spijker" userId="05a3d4c8-0c7e-4bd4-a89b-7182dd0df68e" providerId="ADAL" clId="{36EB911C-DF9F-409D-B5DF-7D92D4802149}" dt="2023-09-19T09:51:20.925" v="6946"/>
          <ac:picMkLst>
            <pc:docMk/>
            <pc:sldMk cId="3181418937" sldId="313"/>
            <ac:picMk id="18" creationId="{3DB5BA00-F6C1-D3CE-A7BE-A7F4DA9B04A5}"/>
          </ac:picMkLst>
        </pc:picChg>
        <pc:picChg chg="add del mod">
          <ac:chgData name="Rick van 't Spijker" userId="05a3d4c8-0c7e-4bd4-a89b-7182dd0df68e" providerId="ADAL" clId="{36EB911C-DF9F-409D-B5DF-7D92D4802149}" dt="2023-09-19T09:51:20.925" v="6946"/>
          <ac:picMkLst>
            <pc:docMk/>
            <pc:sldMk cId="3181418937" sldId="313"/>
            <ac:picMk id="32" creationId="{333303D4-1615-5141-5263-0CE315FE423F}"/>
          </ac:picMkLst>
        </pc:picChg>
        <pc:picChg chg="add del mod">
          <ac:chgData name="Rick van 't Spijker" userId="05a3d4c8-0c7e-4bd4-a89b-7182dd0df68e" providerId="ADAL" clId="{36EB911C-DF9F-409D-B5DF-7D92D4802149}" dt="2023-09-19T09:51:20.925" v="6946"/>
          <ac:picMkLst>
            <pc:docMk/>
            <pc:sldMk cId="3181418937" sldId="313"/>
            <ac:picMk id="39" creationId="{E1EA11E1-1CC8-4482-0FAA-FBF95637AB9A}"/>
          </ac:picMkLst>
        </pc:picChg>
        <pc:picChg chg="add del mod">
          <ac:chgData name="Rick van 't Spijker" userId="05a3d4c8-0c7e-4bd4-a89b-7182dd0df68e" providerId="ADAL" clId="{36EB911C-DF9F-409D-B5DF-7D92D4802149}" dt="2023-09-19T09:51:20.925" v="6946"/>
          <ac:picMkLst>
            <pc:docMk/>
            <pc:sldMk cId="3181418937" sldId="313"/>
            <ac:picMk id="40" creationId="{4005EBC4-106F-6FA0-4D8E-2B41CBF51801}"/>
          </ac:picMkLst>
        </pc:picChg>
        <pc:picChg chg="add del mod">
          <ac:chgData name="Rick van 't Spijker" userId="05a3d4c8-0c7e-4bd4-a89b-7182dd0df68e" providerId="ADAL" clId="{36EB911C-DF9F-409D-B5DF-7D92D4802149}" dt="2023-09-19T09:51:20.925" v="6946"/>
          <ac:picMkLst>
            <pc:docMk/>
            <pc:sldMk cId="3181418937" sldId="313"/>
            <ac:picMk id="47" creationId="{3F182439-FD70-C8E5-71C2-9DFB284CCB72}"/>
          </ac:picMkLst>
        </pc:picChg>
        <pc:picChg chg="add del mod">
          <ac:chgData name="Rick van 't Spijker" userId="05a3d4c8-0c7e-4bd4-a89b-7182dd0df68e" providerId="ADAL" clId="{36EB911C-DF9F-409D-B5DF-7D92D4802149}" dt="2023-09-19T09:51:20.925" v="6946"/>
          <ac:picMkLst>
            <pc:docMk/>
            <pc:sldMk cId="3181418937" sldId="313"/>
            <ac:picMk id="48" creationId="{81A16C06-B0C6-0E3E-9AAE-09A7E9486D67}"/>
          </ac:picMkLst>
        </pc:picChg>
        <pc:picChg chg="add del mod">
          <ac:chgData name="Rick van 't Spijker" userId="05a3d4c8-0c7e-4bd4-a89b-7182dd0df68e" providerId="ADAL" clId="{36EB911C-DF9F-409D-B5DF-7D92D4802149}" dt="2023-09-19T09:51:20.925" v="6946"/>
          <ac:picMkLst>
            <pc:docMk/>
            <pc:sldMk cId="3181418937" sldId="313"/>
            <ac:picMk id="49" creationId="{D1C800BB-B4D0-9C05-8448-552E7B83CEDD}"/>
          </ac:picMkLst>
        </pc:picChg>
        <pc:picChg chg="add del mod">
          <ac:chgData name="Rick van 't Spijker" userId="05a3d4c8-0c7e-4bd4-a89b-7182dd0df68e" providerId="ADAL" clId="{36EB911C-DF9F-409D-B5DF-7D92D4802149}" dt="2023-09-19T09:51:20.925" v="6946"/>
          <ac:picMkLst>
            <pc:docMk/>
            <pc:sldMk cId="3181418937" sldId="313"/>
            <ac:picMk id="50" creationId="{3CE85F2C-7646-16D2-B945-BD10BF9322D1}"/>
          </ac:picMkLst>
        </pc:picChg>
        <pc:picChg chg="add del mod">
          <ac:chgData name="Rick van 't Spijker" userId="05a3d4c8-0c7e-4bd4-a89b-7182dd0df68e" providerId="ADAL" clId="{36EB911C-DF9F-409D-B5DF-7D92D4802149}" dt="2023-09-19T09:51:20.925" v="6946"/>
          <ac:picMkLst>
            <pc:docMk/>
            <pc:sldMk cId="3181418937" sldId="313"/>
            <ac:picMk id="51" creationId="{375E103C-A6B1-C113-40DF-488516E0CF8D}"/>
          </ac:picMkLst>
        </pc:picChg>
        <pc:picChg chg="add del mod">
          <ac:chgData name="Rick van 't Spijker" userId="05a3d4c8-0c7e-4bd4-a89b-7182dd0df68e" providerId="ADAL" clId="{36EB911C-DF9F-409D-B5DF-7D92D4802149}" dt="2023-09-19T09:51:20.925" v="6946"/>
          <ac:picMkLst>
            <pc:docMk/>
            <pc:sldMk cId="3181418937" sldId="313"/>
            <ac:picMk id="52" creationId="{0B0E6234-29E7-8028-B211-EE22E38E3C0D}"/>
          </ac:picMkLst>
        </pc:picChg>
        <pc:picChg chg="add del mod">
          <ac:chgData name="Rick van 't Spijker" userId="05a3d4c8-0c7e-4bd4-a89b-7182dd0df68e" providerId="ADAL" clId="{36EB911C-DF9F-409D-B5DF-7D92D4802149}" dt="2023-09-19T09:51:20.925" v="6946"/>
          <ac:picMkLst>
            <pc:docMk/>
            <pc:sldMk cId="3181418937" sldId="313"/>
            <ac:picMk id="53" creationId="{C0ED0019-307C-7DF7-B9F0-BF6E7D2A5455}"/>
          </ac:picMkLst>
        </pc:picChg>
        <pc:picChg chg="add del mod">
          <ac:chgData name="Rick van 't Spijker" userId="05a3d4c8-0c7e-4bd4-a89b-7182dd0df68e" providerId="ADAL" clId="{36EB911C-DF9F-409D-B5DF-7D92D4802149}" dt="2023-09-19T09:51:20.925" v="6946"/>
          <ac:picMkLst>
            <pc:docMk/>
            <pc:sldMk cId="3181418937" sldId="313"/>
            <ac:picMk id="54" creationId="{F38F6D38-7273-AEC4-B260-9A0300AE3BBE}"/>
          </ac:picMkLst>
        </pc:picChg>
        <pc:picChg chg="add del mod">
          <ac:chgData name="Rick van 't Spijker" userId="05a3d4c8-0c7e-4bd4-a89b-7182dd0df68e" providerId="ADAL" clId="{36EB911C-DF9F-409D-B5DF-7D92D4802149}" dt="2023-09-19T09:51:20.925" v="6946"/>
          <ac:picMkLst>
            <pc:docMk/>
            <pc:sldMk cId="3181418937" sldId="313"/>
            <ac:picMk id="57" creationId="{34738897-60BB-13E1-C34A-9BEB8CA67362}"/>
          </ac:picMkLst>
        </pc:picChg>
        <pc:picChg chg="add mod">
          <ac:chgData name="Rick van 't Spijker" userId="05a3d4c8-0c7e-4bd4-a89b-7182dd0df68e" providerId="ADAL" clId="{36EB911C-DF9F-409D-B5DF-7D92D4802149}" dt="2023-09-19T09:55:54.100" v="6976" actId="1076"/>
          <ac:picMkLst>
            <pc:docMk/>
            <pc:sldMk cId="3181418937" sldId="313"/>
            <ac:picMk id="59" creationId="{4E5F5209-F1AE-1D51-70DF-7889A8BF07D4}"/>
          </ac:picMkLst>
        </pc:picChg>
        <pc:picChg chg="add mod">
          <ac:chgData name="Rick van 't Spijker" userId="05a3d4c8-0c7e-4bd4-a89b-7182dd0df68e" providerId="ADAL" clId="{36EB911C-DF9F-409D-B5DF-7D92D4802149}" dt="2023-09-19T09:51:44.863" v="6947"/>
          <ac:picMkLst>
            <pc:docMk/>
            <pc:sldMk cId="3181418937" sldId="313"/>
            <ac:picMk id="69" creationId="{4E74EC32-19DE-87F7-D9CE-9BC4209B8AB0}"/>
          </ac:picMkLst>
        </pc:picChg>
        <pc:picChg chg="add mod">
          <ac:chgData name="Rick van 't Spijker" userId="05a3d4c8-0c7e-4bd4-a89b-7182dd0df68e" providerId="ADAL" clId="{36EB911C-DF9F-409D-B5DF-7D92D4802149}" dt="2023-09-19T09:51:44.863" v="6947"/>
          <ac:picMkLst>
            <pc:docMk/>
            <pc:sldMk cId="3181418937" sldId="313"/>
            <ac:picMk id="70" creationId="{55A6A5D0-FAC4-7A05-86AF-F95CC947A0B3}"/>
          </ac:picMkLst>
        </pc:picChg>
        <pc:picChg chg="add mod">
          <ac:chgData name="Rick van 't Spijker" userId="05a3d4c8-0c7e-4bd4-a89b-7182dd0df68e" providerId="ADAL" clId="{36EB911C-DF9F-409D-B5DF-7D92D4802149}" dt="2023-09-19T09:51:44.863" v="6947"/>
          <ac:picMkLst>
            <pc:docMk/>
            <pc:sldMk cId="3181418937" sldId="313"/>
            <ac:picMk id="71" creationId="{FBF591D5-8D31-1F67-7822-B1DA4B5E8152}"/>
          </ac:picMkLst>
        </pc:picChg>
        <pc:picChg chg="add mod">
          <ac:chgData name="Rick van 't Spijker" userId="05a3d4c8-0c7e-4bd4-a89b-7182dd0df68e" providerId="ADAL" clId="{36EB911C-DF9F-409D-B5DF-7D92D4802149}" dt="2023-09-19T09:51:44.863" v="6947"/>
          <ac:picMkLst>
            <pc:docMk/>
            <pc:sldMk cId="3181418937" sldId="313"/>
            <ac:picMk id="85" creationId="{BC8D8976-D875-3BEC-FA4F-3D648A9A5AC8}"/>
          </ac:picMkLst>
        </pc:picChg>
        <pc:picChg chg="add mod">
          <ac:chgData name="Rick van 't Spijker" userId="05a3d4c8-0c7e-4bd4-a89b-7182dd0df68e" providerId="ADAL" clId="{36EB911C-DF9F-409D-B5DF-7D92D4802149}" dt="2023-09-19T09:51:44.863" v="6947"/>
          <ac:picMkLst>
            <pc:docMk/>
            <pc:sldMk cId="3181418937" sldId="313"/>
            <ac:picMk id="92" creationId="{F71112B0-671C-0D7B-9418-F8A7BEAC1D59}"/>
          </ac:picMkLst>
        </pc:picChg>
        <pc:picChg chg="add mod">
          <ac:chgData name="Rick van 't Spijker" userId="05a3d4c8-0c7e-4bd4-a89b-7182dd0df68e" providerId="ADAL" clId="{36EB911C-DF9F-409D-B5DF-7D92D4802149}" dt="2023-09-19T09:51:44.863" v="6947"/>
          <ac:picMkLst>
            <pc:docMk/>
            <pc:sldMk cId="3181418937" sldId="313"/>
            <ac:picMk id="93" creationId="{3E55F1F8-BD27-DF12-E43C-8210D72FF976}"/>
          </ac:picMkLst>
        </pc:picChg>
        <pc:picChg chg="add mod">
          <ac:chgData name="Rick van 't Spijker" userId="05a3d4c8-0c7e-4bd4-a89b-7182dd0df68e" providerId="ADAL" clId="{36EB911C-DF9F-409D-B5DF-7D92D4802149}" dt="2023-09-19T09:55:54.100" v="6976" actId="1076"/>
          <ac:picMkLst>
            <pc:docMk/>
            <pc:sldMk cId="3181418937" sldId="313"/>
            <ac:picMk id="100" creationId="{EA2A1843-74EE-E6A0-4F31-29792942A6D5}"/>
          </ac:picMkLst>
        </pc:picChg>
        <pc:picChg chg="add mod">
          <ac:chgData name="Rick van 't Spijker" userId="05a3d4c8-0c7e-4bd4-a89b-7182dd0df68e" providerId="ADAL" clId="{36EB911C-DF9F-409D-B5DF-7D92D4802149}" dt="2023-09-19T09:55:54.100" v="6976" actId="1076"/>
          <ac:picMkLst>
            <pc:docMk/>
            <pc:sldMk cId="3181418937" sldId="313"/>
            <ac:picMk id="101" creationId="{450F7FBE-DA03-8E11-B143-670B4BE2FD6E}"/>
          </ac:picMkLst>
        </pc:picChg>
        <pc:picChg chg="add mod">
          <ac:chgData name="Rick van 't Spijker" userId="05a3d4c8-0c7e-4bd4-a89b-7182dd0df68e" providerId="ADAL" clId="{36EB911C-DF9F-409D-B5DF-7D92D4802149}" dt="2023-09-19T09:55:54.100" v="6976" actId="1076"/>
          <ac:picMkLst>
            <pc:docMk/>
            <pc:sldMk cId="3181418937" sldId="313"/>
            <ac:picMk id="102" creationId="{2CC4D615-668A-B993-1EDB-EA4DD747B595}"/>
          </ac:picMkLst>
        </pc:picChg>
        <pc:picChg chg="add mod">
          <ac:chgData name="Rick van 't Spijker" userId="05a3d4c8-0c7e-4bd4-a89b-7182dd0df68e" providerId="ADAL" clId="{36EB911C-DF9F-409D-B5DF-7D92D4802149}" dt="2023-09-19T09:55:54.100" v="6976" actId="1076"/>
          <ac:picMkLst>
            <pc:docMk/>
            <pc:sldMk cId="3181418937" sldId="313"/>
            <ac:picMk id="103" creationId="{122E3F89-27FF-21CC-E9DF-BAC8A1C63AE2}"/>
          </ac:picMkLst>
        </pc:picChg>
        <pc:picChg chg="add mod">
          <ac:chgData name="Rick van 't Spijker" userId="05a3d4c8-0c7e-4bd4-a89b-7182dd0df68e" providerId="ADAL" clId="{36EB911C-DF9F-409D-B5DF-7D92D4802149}" dt="2023-09-19T09:55:54.100" v="6976" actId="1076"/>
          <ac:picMkLst>
            <pc:docMk/>
            <pc:sldMk cId="3181418937" sldId="313"/>
            <ac:picMk id="104" creationId="{D161DD1E-DEE4-7B68-D74A-6F83C507927F}"/>
          </ac:picMkLst>
        </pc:picChg>
        <pc:picChg chg="add mod">
          <ac:chgData name="Rick van 't Spijker" userId="05a3d4c8-0c7e-4bd4-a89b-7182dd0df68e" providerId="ADAL" clId="{36EB911C-DF9F-409D-B5DF-7D92D4802149}" dt="2023-09-19T09:55:54.100" v="6976" actId="1076"/>
          <ac:picMkLst>
            <pc:docMk/>
            <pc:sldMk cId="3181418937" sldId="313"/>
            <ac:picMk id="105" creationId="{E642EE27-236A-0497-7139-3F43E8369FC1}"/>
          </ac:picMkLst>
        </pc:picChg>
        <pc:picChg chg="add mod">
          <ac:chgData name="Rick van 't Spijker" userId="05a3d4c8-0c7e-4bd4-a89b-7182dd0df68e" providerId="ADAL" clId="{36EB911C-DF9F-409D-B5DF-7D92D4802149}" dt="2023-09-19T09:51:44.863" v="6947"/>
          <ac:picMkLst>
            <pc:docMk/>
            <pc:sldMk cId="3181418937" sldId="313"/>
            <ac:picMk id="106" creationId="{202E6D6C-FBA4-D859-3280-CA22F2E38E31}"/>
          </ac:picMkLst>
        </pc:picChg>
        <pc:picChg chg="add mod">
          <ac:chgData name="Rick van 't Spijker" userId="05a3d4c8-0c7e-4bd4-a89b-7182dd0df68e" providerId="ADAL" clId="{36EB911C-DF9F-409D-B5DF-7D92D4802149}" dt="2023-09-19T09:51:44.863" v="6947"/>
          <ac:picMkLst>
            <pc:docMk/>
            <pc:sldMk cId="3181418937" sldId="313"/>
            <ac:picMk id="107" creationId="{055F0652-7B27-A7FC-DCCB-CE0AC03ACCE6}"/>
          </ac:picMkLst>
        </pc:picChg>
        <pc:picChg chg="add mod">
          <ac:chgData name="Rick van 't Spijker" userId="05a3d4c8-0c7e-4bd4-a89b-7182dd0df68e" providerId="ADAL" clId="{36EB911C-DF9F-409D-B5DF-7D92D4802149}" dt="2023-09-19T09:55:54.100" v="6976" actId="1076"/>
          <ac:picMkLst>
            <pc:docMk/>
            <pc:sldMk cId="3181418937" sldId="313"/>
            <ac:picMk id="109" creationId="{53829430-06F2-2F94-DECB-AFD2DACC826B}"/>
          </ac:picMkLst>
        </pc:picChg>
        <pc:cxnChg chg="add del mod">
          <ac:chgData name="Rick van 't Spijker" userId="05a3d4c8-0c7e-4bd4-a89b-7182dd0df68e" providerId="ADAL" clId="{36EB911C-DF9F-409D-B5DF-7D92D4802149}" dt="2023-09-19T09:51:20.925" v="6946"/>
          <ac:cxnSpMkLst>
            <pc:docMk/>
            <pc:sldMk cId="3181418937" sldId="313"/>
            <ac:cxnSpMk id="19" creationId="{B077A27C-4676-7771-4A00-FDF77F249B96}"/>
          </ac:cxnSpMkLst>
        </pc:cxnChg>
        <pc:cxnChg chg="add del mod">
          <ac:chgData name="Rick van 't Spijker" userId="05a3d4c8-0c7e-4bd4-a89b-7182dd0df68e" providerId="ADAL" clId="{36EB911C-DF9F-409D-B5DF-7D92D4802149}" dt="2023-09-19T09:51:20.925" v="6946"/>
          <ac:cxnSpMkLst>
            <pc:docMk/>
            <pc:sldMk cId="3181418937" sldId="313"/>
            <ac:cxnSpMk id="20" creationId="{E30BF7CF-5975-1AE1-12A5-FDCB694AD50C}"/>
          </ac:cxnSpMkLst>
        </pc:cxnChg>
        <pc:cxnChg chg="add del mod">
          <ac:chgData name="Rick van 't Spijker" userId="05a3d4c8-0c7e-4bd4-a89b-7182dd0df68e" providerId="ADAL" clId="{36EB911C-DF9F-409D-B5DF-7D92D4802149}" dt="2023-09-19T09:51:20.925" v="6946"/>
          <ac:cxnSpMkLst>
            <pc:docMk/>
            <pc:sldMk cId="3181418937" sldId="313"/>
            <ac:cxnSpMk id="21" creationId="{8B438C69-68D5-F99B-6857-AB46FA0F8939}"/>
          </ac:cxnSpMkLst>
        </pc:cxnChg>
        <pc:cxnChg chg="add del mod">
          <ac:chgData name="Rick van 't Spijker" userId="05a3d4c8-0c7e-4bd4-a89b-7182dd0df68e" providerId="ADAL" clId="{36EB911C-DF9F-409D-B5DF-7D92D4802149}" dt="2023-09-19T09:51:20.925" v="6946"/>
          <ac:cxnSpMkLst>
            <pc:docMk/>
            <pc:sldMk cId="3181418937" sldId="313"/>
            <ac:cxnSpMk id="22" creationId="{FB376CA5-B2BC-32A6-3A00-4E1A154479DF}"/>
          </ac:cxnSpMkLst>
        </pc:cxnChg>
        <pc:cxnChg chg="add del mod">
          <ac:chgData name="Rick van 't Spijker" userId="05a3d4c8-0c7e-4bd4-a89b-7182dd0df68e" providerId="ADAL" clId="{36EB911C-DF9F-409D-B5DF-7D92D4802149}" dt="2023-09-19T09:51:20.925" v="6946"/>
          <ac:cxnSpMkLst>
            <pc:docMk/>
            <pc:sldMk cId="3181418937" sldId="313"/>
            <ac:cxnSpMk id="23" creationId="{44CB4B04-B84F-4F37-B7AE-A128CCB21F61}"/>
          </ac:cxnSpMkLst>
        </pc:cxnChg>
        <pc:cxnChg chg="add del mod">
          <ac:chgData name="Rick van 't Spijker" userId="05a3d4c8-0c7e-4bd4-a89b-7182dd0df68e" providerId="ADAL" clId="{36EB911C-DF9F-409D-B5DF-7D92D4802149}" dt="2023-09-19T09:51:20.925" v="6946"/>
          <ac:cxnSpMkLst>
            <pc:docMk/>
            <pc:sldMk cId="3181418937" sldId="313"/>
            <ac:cxnSpMk id="24" creationId="{9D7F6518-58A6-8591-981A-B62A22B70CCB}"/>
          </ac:cxnSpMkLst>
        </pc:cxnChg>
        <pc:cxnChg chg="add del mod">
          <ac:chgData name="Rick van 't Spijker" userId="05a3d4c8-0c7e-4bd4-a89b-7182dd0df68e" providerId="ADAL" clId="{36EB911C-DF9F-409D-B5DF-7D92D4802149}" dt="2023-09-19T09:51:20.925" v="6946"/>
          <ac:cxnSpMkLst>
            <pc:docMk/>
            <pc:sldMk cId="3181418937" sldId="313"/>
            <ac:cxnSpMk id="25" creationId="{160D0390-C10C-34CA-0134-E176F3D73C2F}"/>
          </ac:cxnSpMkLst>
        </pc:cxnChg>
        <pc:cxnChg chg="add del mod">
          <ac:chgData name="Rick van 't Spijker" userId="05a3d4c8-0c7e-4bd4-a89b-7182dd0df68e" providerId="ADAL" clId="{36EB911C-DF9F-409D-B5DF-7D92D4802149}" dt="2023-09-19T09:51:20.925" v="6946"/>
          <ac:cxnSpMkLst>
            <pc:docMk/>
            <pc:sldMk cId="3181418937" sldId="313"/>
            <ac:cxnSpMk id="29" creationId="{67935844-166A-78B3-4F01-515C0C08C550}"/>
          </ac:cxnSpMkLst>
        </pc:cxnChg>
        <pc:cxnChg chg="add mod">
          <ac:chgData name="Rick van 't Spijker" userId="05a3d4c8-0c7e-4bd4-a89b-7182dd0df68e" providerId="ADAL" clId="{36EB911C-DF9F-409D-B5DF-7D92D4802149}" dt="2023-09-19T09:51:44.863" v="6947"/>
          <ac:cxnSpMkLst>
            <pc:docMk/>
            <pc:sldMk cId="3181418937" sldId="313"/>
            <ac:cxnSpMk id="72" creationId="{74466ED4-D053-1B47-E3BA-F4E8518C47AC}"/>
          </ac:cxnSpMkLst>
        </pc:cxnChg>
        <pc:cxnChg chg="add mod">
          <ac:chgData name="Rick van 't Spijker" userId="05a3d4c8-0c7e-4bd4-a89b-7182dd0df68e" providerId="ADAL" clId="{36EB911C-DF9F-409D-B5DF-7D92D4802149}" dt="2023-09-19T09:51:44.863" v="6947"/>
          <ac:cxnSpMkLst>
            <pc:docMk/>
            <pc:sldMk cId="3181418937" sldId="313"/>
            <ac:cxnSpMk id="73" creationId="{E71FFB92-CC0D-7CD4-6E7C-518E942D22B4}"/>
          </ac:cxnSpMkLst>
        </pc:cxnChg>
        <pc:cxnChg chg="add mod">
          <ac:chgData name="Rick van 't Spijker" userId="05a3d4c8-0c7e-4bd4-a89b-7182dd0df68e" providerId="ADAL" clId="{36EB911C-DF9F-409D-B5DF-7D92D4802149}" dt="2023-09-19T09:51:44.863" v="6947"/>
          <ac:cxnSpMkLst>
            <pc:docMk/>
            <pc:sldMk cId="3181418937" sldId="313"/>
            <ac:cxnSpMk id="74" creationId="{72AD1BEB-2150-2AD5-0B5C-769290AF586C}"/>
          </ac:cxnSpMkLst>
        </pc:cxnChg>
        <pc:cxnChg chg="add mod">
          <ac:chgData name="Rick van 't Spijker" userId="05a3d4c8-0c7e-4bd4-a89b-7182dd0df68e" providerId="ADAL" clId="{36EB911C-DF9F-409D-B5DF-7D92D4802149}" dt="2023-09-19T09:51:44.863" v="6947"/>
          <ac:cxnSpMkLst>
            <pc:docMk/>
            <pc:sldMk cId="3181418937" sldId="313"/>
            <ac:cxnSpMk id="75" creationId="{310168C1-8044-1C53-AA90-84F260B59B30}"/>
          </ac:cxnSpMkLst>
        </pc:cxnChg>
        <pc:cxnChg chg="add mod">
          <ac:chgData name="Rick van 't Spijker" userId="05a3d4c8-0c7e-4bd4-a89b-7182dd0df68e" providerId="ADAL" clId="{36EB911C-DF9F-409D-B5DF-7D92D4802149}" dt="2023-09-19T09:51:44.863" v="6947"/>
          <ac:cxnSpMkLst>
            <pc:docMk/>
            <pc:sldMk cId="3181418937" sldId="313"/>
            <ac:cxnSpMk id="76" creationId="{80C0EE89-A435-F5CE-3F6B-0B9530BAA8E3}"/>
          </ac:cxnSpMkLst>
        </pc:cxnChg>
        <pc:cxnChg chg="add mod">
          <ac:chgData name="Rick van 't Spijker" userId="05a3d4c8-0c7e-4bd4-a89b-7182dd0df68e" providerId="ADAL" clId="{36EB911C-DF9F-409D-B5DF-7D92D4802149}" dt="2023-09-19T09:51:44.863" v="6947"/>
          <ac:cxnSpMkLst>
            <pc:docMk/>
            <pc:sldMk cId="3181418937" sldId="313"/>
            <ac:cxnSpMk id="77" creationId="{DB009709-A3B2-73D4-ACFB-AC30E5BDC3CD}"/>
          </ac:cxnSpMkLst>
        </pc:cxnChg>
        <pc:cxnChg chg="add mod">
          <ac:chgData name="Rick van 't Spijker" userId="05a3d4c8-0c7e-4bd4-a89b-7182dd0df68e" providerId="ADAL" clId="{36EB911C-DF9F-409D-B5DF-7D92D4802149}" dt="2023-09-19T09:51:44.863" v="6947"/>
          <ac:cxnSpMkLst>
            <pc:docMk/>
            <pc:sldMk cId="3181418937" sldId="313"/>
            <ac:cxnSpMk id="78" creationId="{40B1AC14-2476-1BA2-C8E0-1200EEA2A6DE}"/>
          </ac:cxnSpMkLst>
        </pc:cxnChg>
        <pc:cxnChg chg="add mod">
          <ac:chgData name="Rick van 't Spijker" userId="05a3d4c8-0c7e-4bd4-a89b-7182dd0df68e" providerId="ADAL" clId="{36EB911C-DF9F-409D-B5DF-7D92D4802149}" dt="2023-09-19T09:51:44.863" v="6947"/>
          <ac:cxnSpMkLst>
            <pc:docMk/>
            <pc:sldMk cId="3181418937" sldId="313"/>
            <ac:cxnSpMk id="82" creationId="{5AB59CD2-C87A-004F-F5E5-28F635C14105}"/>
          </ac:cxnSpMkLst>
        </pc:cxnChg>
      </pc:sldChg>
      <pc:sldChg chg="addSp delSp modSp new mod modAnim modNotesTx">
        <pc:chgData name="Rick van 't Spijker" userId="05a3d4c8-0c7e-4bd4-a89b-7182dd0df68e" providerId="ADAL" clId="{36EB911C-DF9F-409D-B5DF-7D92D4802149}" dt="2023-09-18T19:50:25.302" v="3733"/>
        <pc:sldMkLst>
          <pc:docMk/>
          <pc:sldMk cId="1784868378" sldId="314"/>
        </pc:sldMkLst>
        <pc:spChg chg="mod">
          <ac:chgData name="Rick van 't Spijker" userId="05a3d4c8-0c7e-4bd4-a89b-7182dd0df68e" providerId="ADAL" clId="{36EB911C-DF9F-409D-B5DF-7D92D4802149}" dt="2023-09-18T19:44:01.854" v="3678" actId="14100"/>
          <ac:spMkLst>
            <pc:docMk/>
            <pc:sldMk cId="1784868378" sldId="314"/>
            <ac:spMk id="2" creationId="{549853A5-7602-3F7B-C7C0-E4DE51D83B47}"/>
          </ac:spMkLst>
        </pc:spChg>
        <pc:spChg chg="del">
          <ac:chgData name="Rick van 't Spijker" userId="05a3d4c8-0c7e-4bd4-a89b-7182dd0df68e" providerId="ADAL" clId="{36EB911C-DF9F-409D-B5DF-7D92D4802149}" dt="2023-09-14T08:50:01.427" v="2465" actId="478"/>
          <ac:spMkLst>
            <pc:docMk/>
            <pc:sldMk cId="1784868378" sldId="314"/>
            <ac:spMk id="3" creationId="{0AA70440-21AF-204A-7E45-E65B53CBFFA6}"/>
          </ac:spMkLst>
        </pc:spChg>
        <pc:spChg chg="del mod">
          <ac:chgData name="Rick van 't Spijker" userId="05a3d4c8-0c7e-4bd4-a89b-7182dd0df68e" providerId="ADAL" clId="{36EB911C-DF9F-409D-B5DF-7D92D4802149}" dt="2023-09-18T19:44:06.455" v="3679" actId="478"/>
          <ac:spMkLst>
            <pc:docMk/>
            <pc:sldMk cId="1784868378" sldId="314"/>
            <ac:spMk id="4" creationId="{0BF4ABAA-CA96-6D71-0353-0691B0F5E666}"/>
          </ac:spMkLst>
        </pc:spChg>
        <pc:spChg chg="add del mod">
          <ac:chgData name="Rick van 't Spijker" userId="05a3d4c8-0c7e-4bd4-a89b-7182dd0df68e" providerId="ADAL" clId="{36EB911C-DF9F-409D-B5DF-7D92D4802149}" dt="2023-09-18T19:44:11.140" v="3680" actId="478"/>
          <ac:spMkLst>
            <pc:docMk/>
            <pc:sldMk cId="1784868378" sldId="314"/>
            <ac:spMk id="5" creationId="{2615236C-DDB7-C3D8-025C-D85728A397C7}"/>
          </ac:spMkLst>
        </pc:spChg>
        <pc:spChg chg="add mod">
          <ac:chgData name="Rick van 't Spijker" userId="05a3d4c8-0c7e-4bd4-a89b-7182dd0df68e" providerId="ADAL" clId="{36EB911C-DF9F-409D-B5DF-7D92D4802149}" dt="2023-09-14T08:51:50.915" v="2478" actId="1582"/>
          <ac:spMkLst>
            <pc:docMk/>
            <pc:sldMk cId="1784868378" sldId="314"/>
            <ac:spMk id="7" creationId="{E6BB12B6-7CF7-A8E7-CE0F-B2BD05FF3E9D}"/>
          </ac:spMkLst>
        </pc:spChg>
        <pc:spChg chg="add mod">
          <ac:chgData name="Rick van 't Spijker" userId="05a3d4c8-0c7e-4bd4-a89b-7182dd0df68e" providerId="ADAL" clId="{36EB911C-DF9F-409D-B5DF-7D92D4802149}" dt="2023-09-14T08:51:50.915" v="2478" actId="1582"/>
          <ac:spMkLst>
            <pc:docMk/>
            <pc:sldMk cId="1784868378" sldId="314"/>
            <ac:spMk id="8" creationId="{C6FF49EC-D16A-EE22-5DC0-84420C486248}"/>
          </ac:spMkLst>
        </pc:spChg>
        <pc:spChg chg="add del mod">
          <ac:chgData name="Rick van 't Spijker" userId="05a3d4c8-0c7e-4bd4-a89b-7182dd0df68e" providerId="ADAL" clId="{36EB911C-DF9F-409D-B5DF-7D92D4802149}" dt="2023-09-14T08:52:50.978" v="2491" actId="478"/>
          <ac:spMkLst>
            <pc:docMk/>
            <pc:sldMk cId="1784868378" sldId="314"/>
            <ac:spMk id="9" creationId="{B6140711-B875-95B1-CBD9-E8B05E3897FA}"/>
          </ac:spMkLst>
        </pc:spChg>
        <pc:spChg chg="add del mod">
          <ac:chgData name="Rick van 't Spijker" userId="05a3d4c8-0c7e-4bd4-a89b-7182dd0df68e" providerId="ADAL" clId="{36EB911C-DF9F-409D-B5DF-7D92D4802149}" dt="2023-09-14T08:52:52.258" v="2492" actId="478"/>
          <ac:spMkLst>
            <pc:docMk/>
            <pc:sldMk cId="1784868378" sldId="314"/>
            <ac:spMk id="10" creationId="{FC79B64F-6101-598C-6925-8803D752D954}"/>
          </ac:spMkLst>
        </pc:spChg>
        <pc:picChg chg="add mod">
          <ac:chgData name="Rick van 't Spijker" userId="05a3d4c8-0c7e-4bd4-a89b-7182dd0df68e" providerId="ADAL" clId="{36EB911C-DF9F-409D-B5DF-7D92D4802149}" dt="2023-09-14T08:50:37.338" v="2473" actId="1076"/>
          <ac:picMkLst>
            <pc:docMk/>
            <pc:sldMk cId="1784868378" sldId="314"/>
            <ac:picMk id="6" creationId="{CE1B0268-3D52-12B6-C0BA-3977C79BA722}"/>
          </ac:picMkLst>
        </pc:picChg>
        <pc:picChg chg="add mod">
          <ac:chgData name="Rick van 't Spijker" userId="05a3d4c8-0c7e-4bd4-a89b-7182dd0df68e" providerId="ADAL" clId="{36EB911C-DF9F-409D-B5DF-7D92D4802149}" dt="2023-09-18T19:47:31.359" v="3722" actId="1076"/>
          <ac:picMkLst>
            <pc:docMk/>
            <pc:sldMk cId="1784868378" sldId="314"/>
            <ac:picMk id="10" creationId="{0D26314B-FDFE-4C7F-E90A-BC26D894D5FC}"/>
          </ac:picMkLst>
        </pc:picChg>
        <pc:picChg chg="add mod">
          <ac:chgData name="Rick van 't Spijker" userId="05a3d4c8-0c7e-4bd4-a89b-7182dd0df68e" providerId="ADAL" clId="{36EB911C-DF9F-409D-B5DF-7D92D4802149}" dt="2023-09-14T08:56:06.849" v="2512" actId="167"/>
          <ac:picMkLst>
            <pc:docMk/>
            <pc:sldMk cId="1784868378" sldId="314"/>
            <ac:picMk id="11" creationId="{5CB78848-B62F-C5CB-2A33-C3E7FD06883D}"/>
          </ac:picMkLst>
        </pc:picChg>
      </pc:sldChg>
      <pc:sldChg chg="addSp delSp modSp add mod modClrScheme modAnim chgLayout modNotesTx">
        <pc:chgData name="Rick van 't Spijker" userId="05a3d4c8-0c7e-4bd4-a89b-7182dd0df68e" providerId="ADAL" clId="{36EB911C-DF9F-409D-B5DF-7D92D4802149}" dt="2023-09-19T08:30:29.325" v="6016" actId="1076"/>
        <pc:sldMkLst>
          <pc:docMk/>
          <pc:sldMk cId="1625057102" sldId="315"/>
        </pc:sldMkLst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3" creationId="{DEE3AAE4-A00E-1FA5-9F60-D69FCC61394E}"/>
          </ac:spMkLst>
        </pc:spChg>
        <pc:spChg chg="mod ord">
          <ac:chgData name="Rick van 't Spijker" userId="05a3d4c8-0c7e-4bd4-a89b-7182dd0df68e" providerId="ADAL" clId="{36EB911C-DF9F-409D-B5DF-7D92D4802149}" dt="2023-09-18T19:59:16.783" v="3782" actId="14100"/>
          <ac:spMkLst>
            <pc:docMk/>
            <pc:sldMk cId="1625057102" sldId="315"/>
            <ac:spMk id="4" creationId="{24FF7E2F-9C8E-D698-8699-01BF4B589C08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5" creationId="{6A7D671F-EDFD-3BD4-E9F2-F05DE11540B5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6" creationId="{8B1FFA5C-766C-A600-120E-316BC5C034B8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7" creationId="{4EE61852-21CE-8141-4696-5780739D1C27}"/>
          </ac:spMkLst>
        </pc:spChg>
        <pc:spChg chg="del mod ord">
          <ac:chgData name="Rick van 't Spijker" userId="05a3d4c8-0c7e-4bd4-a89b-7182dd0df68e" providerId="ADAL" clId="{36EB911C-DF9F-409D-B5DF-7D92D4802149}" dt="2023-09-18T19:59:21.332" v="3783" actId="478"/>
          <ac:spMkLst>
            <pc:docMk/>
            <pc:sldMk cId="1625057102" sldId="315"/>
            <ac:spMk id="8" creationId="{A646CBFF-B516-ECFB-D336-8E48B96240A0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9" creationId="{2DBCD151-AC20-BF6B-E190-1A7B1209673A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10" creationId="{FEE853D5-53F5-4A06-FC2E-8FF3C3BEF08B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11" creationId="{A9303D71-C377-0D53-F76B-38AD7F344E8E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12" creationId="{E652F181-F9BC-928F-A204-3EEAF5513A0A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13" creationId="{517F5DAD-0157-1EF4-36AE-C016F41A21B7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14" creationId="{EE9F04F5-7666-5EDE-8C7E-9E48CD881C23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15" creationId="{9E505909-042F-6CE8-B6B4-8D0715414374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16" creationId="{4084D989-1CD0-4085-3DE5-4DCA24F223A5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17" creationId="{DF9E71CE-95A4-06EF-F35A-6A4B5EAF6A5F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18" creationId="{4B0E6BFF-084E-44A7-350C-4F27423684FC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19" creationId="{225FA16F-7BC8-1E9B-7CBF-3DB9964D4D6E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20" creationId="{6A177F5E-D262-AF1A-2E93-118B5EEEECFA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21" creationId="{E1AA7FF1-24FC-4527-6726-18293D6965DB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22" creationId="{A73787ED-732C-D88C-C475-CD80329CE5BD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23" creationId="{DE534E05-5935-5126-F60D-51EA4E225D3B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24" creationId="{286CED9E-B278-484E-9A83-D5646511A44A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25" creationId="{9C33565A-A03A-1A15-AE1A-38D985A94B9B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26" creationId="{A19BA95D-E879-71CF-FD4F-A31D22E525E5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27" creationId="{B3864820-C28F-E5FB-E84B-ED8ABA419201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28" creationId="{71F4568D-9FC7-9178-8F24-D35F2390FFB0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29" creationId="{EAD7D331-13D6-9C9B-262A-C69C85CF38FE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30" creationId="{F15ED7FB-517A-C599-0257-762259710193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31" creationId="{35B5A7D9-7E0A-909B-9428-8F214CE099E7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32" creationId="{81093D05-3A75-418F-E5A3-2D9A5F1C4771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33" creationId="{D2187AA4-E1D8-4BE9-8EB5-BE861C0A541A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34" creationId="{53F22E27-C102-9173-78A1-36BC9E60BB3A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35" creationId="{EDB3215D-46C1-E63A-A3A4-06374AF643CE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36" creationId="{1F0ADBFC-F022-6A5C-845D-A79E9CCB2736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37" creationId="{09843141-891B-319E-B209-DE35C81A7973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38" creationId="{BDD1579E-85E6-0862-5BA9-8E2BC708BD88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39" creationId="{69B8E21D-448C-C918-2805-D0A916A340FF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40" creationId="{F8EBCCDD-D02A-CF87-13F4-41E4D696600D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41" creationId="{177EEDE0-12DB-224D-2EE5-6CC1F735B0B7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42" creationId="{677A16EC-B456-C36A-F349-991781CE6A76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43" creationId="{AEBF1023-1D0E-623D-8AB2-3AA8AAD5461F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44" creationId="{0C193ECD-18FC-A934-223A-FE5D899B49AB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45" creationId="{6B345ED8-391C-EF00-A15A-96F1642F9BB3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46" creationId="{34CA6EB2-7462-F667-5942-A7E6151B314F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47" creationId="{94D53EA1-CE19-67AF-A37B-A0E3D3B0CCB8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48" creationId="{BEFDE5F9-58DE-8626-B45F-6C4A8FD3C53E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49" creationId="{571996D2-EE69-62A8-A093-5FE8F2DF4608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50" creationId="{30298C97-642D-3EA2-50A5-0174A1213143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51" creationId="{0DB26C39-1DE8-57DB-029C-BCA411991E27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52" creationId="{D9889C83-7B93-2F7C-6D71-376447F6817F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53" creationId="{3A405102-6153-320A-5A63-F9559DD71EBD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54" creationId="{4EC54D10-6D3E-C297-3B23-E4D01BA46843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55" creationId="{AC09F9C5-E246-43B7-4634-70545B4D993F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56" creationId="{587CB409-1E8B-F977-9462-5789CF37250E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57" creationId="{A30CA4E5-538C-EBCA-79FA-7A13B150061C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58" creationId="{F8AD1514-658A-D105-9A5E-5DC9070A172D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59" creationId="{EA54CE69-7896-07F3-16E0-913216A9857C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60" creationId="{097D994F-791C-1216-C950-64183D676D5C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61" creationId="{31B11545-B2FC-A1F2-ED33-6EA8A922FF38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62" creationId="{50D8FE22-5383-ED03-3793-0264EAC8E547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63" creationId="{9570B2AF-64CA-1077-0D54-69D384B99AA1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64" creationId="{0598DB46-4995-D861-803B-7BF7065D60DA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65" creationId="{D639C9EF-DA7B-4D9A-A79C-F74A36BC898C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66" creationId="{8E124B37-7DA9-3A9A-F09D-FB9D8E66CE9A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67" creationId="{B4935F6C-FD8F-51D9-8ED7-6A1898D2C752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68" creationId="{414271C2-E13D-6ECD-6207-03FB1C337F23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69" creationId="{02CEC15B-78AF-A445-9649-AEAEE8889603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70" creationId="{7CD49D6D-EE0C-AF93-B40A-7A5744861D44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71" creationId="{ADAAAA69-A236-B1E9-CB6C-6DEE088418F1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72" creationId="{B6CD0955-3E98-1F19-E4B7-905178B90028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73" creationId="{40F82F5F-71B8-F51A-9731-8ACBD2B14A65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74" creationId="{E4942CCD-5014-4DBE-F890-6EEA0A81A9DA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75" creationId="{9D52436E-70EE-40E2-3054-BA7F57BA204F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76" creationId="{816B8AB7-5777-5CFF-9EE6-1C5FA9551A00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77" creationId="{11B407B8-4695-430F-1C58-AB759A4624F0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78" creationId="{C2927CF4-9B17-5CD9-DC91-BA3C5668EB37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79" creationId="{6F7E2CA3-2E09-D898-BB69-8A29230A99CC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80" creationId="{C67CC5FD-ECD9-08AE-734E-7B6DFD147B8F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81" creationId="{48B44F5D-A202-1297-E787-978A28ECEB8A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82" creationId="{71A8D804-C024-0EF9-BB17-C12F6B8D43EC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83" creationId="{0E8C681D-20FB-F11F-D8A5-A5F8097D34DE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84" creationId="{D4D828A2-9261-D5F0-03DE-426C5B913E74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85" creationId="{9E13A639-B940-DCC3-17B0-A042D2942276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86" creationId="{B181FEBB-C8F2-7A5A-BE0B-AE6903B310CC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87" creationId="{64047331-8378-31FC-3EE9-2C6406EB1B60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88" creationId="{48EAF1FB-8363-6823-C046-92F9D6E373C3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89" creationId="{1DE90F0B-AE33-AFA3-89A6-1FA6F1510EF7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90" creationId="{401D6B02-A4D6-D932-C0FA-AF6B28491D76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91" creationId="{BC3F6F21-DF1E-9466-B64C-5901C0795A27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92" creationId="{11ECBDA8-2890-0048-7B7C-82802BC3389B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93" creationId="{53B19057-8673-C1FD-C7E0-0DA90EA3A19B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94" creationId="{5EB2A8B3-7966-75D8-A15A-D7A3CD0F43D9}"/>
          </ac:spMkLst>
        </pc:spChg>
        <pc:spChg chg="mod">
          <ac:chgData name="Rick van 't Spijker" userId="05a3d4c8-0c7e-4bd4-a89b-7182dd0df68e" providerId="ADAL" clId="{36EB911C-DF9F-409D-B5DF-7D92D4802149}" dt="2023-09-18T17:02:47.892" v="3119"/>
          <ac:spMkLst>
            <pc:docMk/>
            <pc:sldMk cId="1625057102" sldId="315"/>
            <ac:spMk id="95" creationId="{A14590F5-CD0F-545B-3704-9B9B4A2970EB}"/>
          </ac:spMkLst>
        </pc:spChg>
        <pc:spChg chg="mod">
          <ac:chgData name="Rick van 't Spijker" userId="05a3d4c8-0c7e-4bd4-a89b-7182dd0df68e" providerId="ADAL" clId="{36EB911C-DF9F-409D-B5DF-7D92D4802149}" dt="2023-09-18T17:03:57.314" v="3125"/>
          <ac:spMkLst>
            <pc:docMk/>
            <pc:sldMk cId="1625057102" sldId="315"/>
            <ac:spMk id="100" creationId="{BF54A991-3112-799E-F93C-CFD43E33279A}"/>
          </ac:spMkLst>
        </pc:spChg>
        <pc:spChg chg="mod">
          <ac:chgData name="Rick van 't Spijker" userId="05a3d4c8-0c7e-4bd4-a89b-7182dd0df68e" providerId="ADAL" clId="{36EB911C-DF9F-409D-B5DF-7D92D4802149}" dt="2023-09-18T17:03:57.314" v="3125"/>
          <ac:spMkLst>
            <pc:docMk/>
            <pc:sldMk cId="1625057102" sldId="315"/>
            <ac:spMk id="101" creationId="{89F6849C-59FF-5DD8-C9E6-1C4A88EE2E1E}"/>
          </ac:spMkLst>
        </pc:spChg>
        <pc:spChg chg="mod">
          <ac:chgData name="Rick van 't Spijker" userId="05a3d4c8-0c7e-4bd4-a89b-7182dd0df68e" providerId="ADAL" clId="{36EB911C-DF9F-409D-B5DF-7D92D4802149}" dt="2023-09-18T17:03:57.314" v="3125"/>
          <ac:spMkLst>
            <pc:docMk/>
            <pc:sldMk cId="1625057102" sldId="315"/>
            <ac:spMk id="102" creationId="{1B70DA2D-8349-BEA0-0330-19B693D2C9D7}"/>
          </ac:spMkLst>
        </pc:spChg>
        <pc:spChg chg="mod">
          <ac:chgData name="Rick van 't Spijker" userId="05a3d4c8-0c7e-4bd4-a89b-7182dd0df68e" providerId="ADAL" clId="{36EB911C-DF9F-409D-B5DF-7D92D4802149}" dt="2023-09-18T17:03:57.314" v="3125"/>
          <ac:spMkLst>
            <pc:docMk/>
            <pc:sldMk cId="1625057102" sldId="315"/>
            <ac:spMk id="103" creationId="{70C3EA68-B113-F671-2B6B-E5814C8CF444}"/>
          </ac:spMkLst>
        </pc:spChg>
        <pc:spChg chg="mod">
          <ac:chgData name="Rick van 't Spijker" userId="05a3d4c8-0c7e-4bd4-a89b-7182dd0df68e" providerId="ADAL" clId="{36EB911C-DF9F-409D-B5DF-7D92D4802149}" dt="2023-09-18T17:03:57.314" v="3125"/>
          <ac:spMkLst>
            <pc:docMk/>
            <pc:sldMk cId="1625057102" sldId="315"/>
            <ac:spMk id="104" creationId="{48E4B091-3B73-EDF7-319A-A8DE0F41FF87}"/>
          </ac:spMkLst>
        </pc:spChg>
        <pc:spChg chg="mod">
          <ac:chgData name="Rick van 't Spijker" userId="05a3d4c8-0c7e-4bd4-a89b-7182dd0df68e" providerId="ADAL" clId="{36EB911C-DF9F-409D-B5DF-7D92D4802149}" dt="2023-09-18T17:03:57.314" v="3125"/>
          <ac:spMkLst>
            <pc:docMk/>
            <pc:sldMk cId="1625057102" sldId="315"/>
            <ac:spMk id="105" creationId="{2B787B05-7C4D-5413-58B3-2D7FDF5594F2}"/>
          </ac:spMkLst>
        </pc:spChg>
        <pc:spChg chg="mod">
          <ac:chgData name="Rick van 't Spijker" userId="05a3d4c8-0c7e-4bd4-a89b-7182dd0df68e" providerId="ADAL" clId="{36EB911C-DF9F-409D-B5DF-7D92D4802149}" dt="2023-09-18T17:03:57.314" v="3125"/>
          <ac:spMkLst>
            <pc:docMk/>
            <pc:sldMk cId="1625057102" sldId="315"/>
            <ac:spMk id="106" creationId="{0A334507-CF2F-743D-CB3C-AF5079D55670}"/>
          </ac:spMkLst>
        </pc:spChg>
        <pc:spChg chg="mod">
          <ac:chgData name="Rick van 't Spijker" userId="05a3d4c8-0c7e-4bd4-a89b-7182dd0df68e" providerId="ADAL" clId="{36EB911C-DF9F-409D-B5DF-7D92D4802149}" dt="2023-09-18T17:03:57.314" v="3125"/>
          <ac:spMkLst>
            <pc:docMk/>
            <pc:sldMk cId="1625057102" sldId="315"/>
            <ac:spMk id="107" creationId="{4CB74EC9-8597-B85B-3BAC-C057B8077954}"/>
          </ac:spMkLst>
        </pc:spChg>
        <pc:spChg chg="mod">
          <ac:chgData name="Rick van 't Spijker" userId="05a3d4c8-0c7e-4bd4-a89b-7182dd0df68e" providerId="ADAL" clId="{36EB911C-DF9F-409D-B5DF-7D92D4802149}" dt="2023-09-18T17:03:57.314" v="3125"/>
          <ac:spMkLst>
            <pc:docMk/>
            <pc:sldMk cId="1625057102" sldId="315"/>
            <ac:spMk id="108" creationId="{37B74251-B771-3D4F-AABA-209614F60C94}"/>
          </ac:spMkLst>
        </pc:spChg>
        <pc:spChg chg="mod">
          <ac:chgData name="Rick van 't Spijker" userId="05a3d4c8-0c7e-4bd4-a89b-7182dd0df68e" providerId="ADAL" clId="{36EB911C-DF9F-409D-B5DF-7D92D4802149}" dt="2023-09-18T17:03:57.314" v="3125"/>
          <ac:spMkLst>
            <pc:docMk/>
            <pc:sldMk cId="1625057102" sldId="315"/>
            <ac:spMk id="109" creationId="{E252EDB0-8EA6-9F81-96E4-141936ED8A55}"/>
          </ac:spMkLst>
        </pc:spChg>
        <pc:spChg chg="mod">
          <ac:chgData name="Rick van 't Spijker" userId="05a3d4c8-0c7e-4bd4-a89b-7182dd0df68e" providerId="ADAL" clId="{36EB911C-DF9F-409D-B5DF-7D92D4802149}" dt="2023-09-18T17:03:57.314" v="3125"/>
          <ac:spMkLst>
            <pc:docMk/>
            <pc:sldMk cId="1625057102" sldId="315"/>
            <ac:spMk id="110" creationId="{25A59327-E06B-9E30-8F61-AD9DF2B2EE8D}"/>
          </ac:spMkLst>
        </pc:spChg>
        <pc:spChg chg="mod">
          <ac:chgData name="Rick van 't Spijker" userId="05a3d4c8-0c7e-4bd4-a89b-7182dd0df68e" providerId="ADAL" clId="{36EB911C-DF9F-409D-B5DF-7D92D4802149}" dt="2023-09-18T17:03:57.314" v="3125"/>
          <ac:spMkLst>
            <pc:docMk/>
            <pc:sldMk cId="1625057102" sldId="315"/>
            <ac:spMk id="111" creationId="{1007B312-651A-D73A-EC33-6DDF17C52E57}"/>
          </ac:spMkLst>
        </pc:spChg>
        <pc:spChg chg="mod">
          <ac:chgData name="Rick van 't Spijker" userId="05a3d4c8-0c7e-4bd4-a89b-7182dd0df68e" providerId="ADAL" clId="{36EB911C-DF9F-409D-B5DF-7D92D4802149}" dt="2023-09-18T17:03:57.314" v="3125"/>
          <ac:spMkLst>
            <pc:docMk/>
            <pc:sldMk cId="1625057102" sldId="315"/>
            <ac:spMk id="112" creationId="{DC6DA30B-1D09-2A6D-3311-99F6015B3C2D}"/>
          </ac:spMkLst>
        </pc:spChg>
        <pc:spChg chg="mod">
          <ac:chgData name="Rick van 't Spijker" userId="05a3d4c8-0c7e-4bd4-a89b-7182dd0df68e" providerId="ADAL" clId="{36EB911C-DF9F-409D-B5DF-7D92D4802149}" dt="2023-09-18T17:03:57.314" v="3125"/>
          <ac:spMkLst>
            <pc:docMk/>
            <pc:sldMk cId="1625057102" sldId="315"/>
            <ac:spMk id="113" creationId="{FB3DF22A-1F2D-1E28-FBC9-83DC10C4052C}"/>
          </ac:spMkLst>
        </pc:spChg>
        <pc:spChg chg="mod">
          <ac:chgData name="Rick van 't Spijker" userId="05a3d4c8-0c7e-4bd4-a89b-7182dd0df68e" providerId="ADAL" clId="{36EB911C-DF9F-409D-B5DF-7D92D4802149}" dt="2023-09-18T17:04:06.947" v="3127" actId="571"/>
          <ac:spMkLst>
            <pc:docMk/>
            <pc:sldMk cId="1625057102" sldId="315"/>
            <ac:spMk id="115" creationId="{34DF7B84-D5C4-51E4-191D-2A6BFFD215C0}"/>
          </ac:spMkLst>
        </pc:spChg>
        <pc:spChg chg="mod">
          <ac:chgData name="Rick van 't Spijker" userId="05a3d4c8-0c7e-4bd4-a89b-7182dd0df68e" providerId="ADAL" clId="{36EB911C-DF9F-409D-B5DF-7D92D4802149}" dt="2023-09-18T17:04:06.947" v="3127" actId="571"/>
          <ac:spMkLst>
            <pc:docMk/>
            <pc:sldMk cId="1625057102" sldId="315"/>
            <ac:spMk id="116" creationId="{2406C3D8-FB4B-DE37-8AEA-C0386B99B292}"/>
          </ac:spMkLst>
        </pc:spChg>
        <pc:spChg chg="mod">
          <ac:chgData name="Rick van 't Spijker" userId="05a3d4c8-0c7e-4bd4-a89b-7182dd0df68e" providerId="ADAL" clId="{36EB911C-DF9F-409D-B5DF-7D92D4802149}" dt="2023-09-18T17:04:06.947" v="3127" actId="571"/>
          <ac:spMkLst>
            <pc:docMk/>
            <pc:sldMk cId="1625057102" sldId="315"/>
            <ac:spMk id="117" creationId="{73272333-B8F4-3E9B-A9B5-3EF864EF365B}"/>
          </ac:spMkLst>
        </pc:spChg>
        <pc:spChg chg="mod">
          <ac:chgData name="Rick van 't Spijker" userId="05a3d4c8-0c7e-4bd4-a89b-7182dd0df68e" providerId="ADAL" clId="{36EB911C-DF9F-409D-B5DF-7D92D4802149}" dt="2023-09-18T17:04:06.947" v="3127" actId="571"/>
          <ac:spMkLst>
            <pc:docMk/>
            <pc:sldMk cId="1625057102" sldId="315"/>
            <ac:spMk id="118" creationId="{485EA558-8EB2-FE1B-D9C0-71742E30E35B}"/>
          </ac:spMkLst>
        </pc:spChg>
        <pc:spChg chg="mod">
          <ac:chgData name="Rick van 't Spijker" userId="05a3d4c8-0c7e-4bd4-a89b-7182dd0df68e" providerId="ADAL" clId="{36EB911C-DF9F-409D-B5DF-7D92D4802149}" dt="2023-09-18T17:04:06.947" v="3127" actId="571"/>
          <ac:spMkLst>
            <pc:docMk/>
            <pc:sldMk cId="1625057102" sldId="315"/>
            <ac:spMk id="119" creationId="{05177BBF-A69A-E54F-071E-FDB6479CE3B8}"/>
          </ac:spMkLst>
        </pc:spChg>
        <pc:spChg chg="mod">
          <ac:chgData name="Rick van 't Spijker" userId="05a3d4c8-0c7e-4bd4-a89b-7182dd0df68e" providerId="ADAL" clId="{36EB911C-DF9F-409D-B5DF-7D92D4802149}" dt="2023-09-18T17:04:06.947" v="3127" actId="571"/>
          <ac:spMkLst>
            <pc:docMk/>
            <pc:sldMk cId="1625057102" sldId="315"/>
            <ac:spMk id="120" creationId="{1EDDE21C-CBAE-38B3-B7C0-2BCF14AFFF19}"/>
          </ac:spMkLst>
        </pc:spChg>
        <pc:spChg chg="mod">
          <ac:chgData name="Rick van 't Spijker" userId="05a3d4c8-0c7e-4bd4-a89b-7182dd0df68e" providerId="ADAL" clId="{36EB911C-DF9F-409D-B5DF-7D92D4802149}" dt="2023-09-18T17:04:06.947" v="3127" actId="571"/>
          <ac:spMkLst>
            <pc:docMk/>
            <pc:sldMk cId="1625057102" sldId="315"/>
            <ac:spMk id="121" creationId="{F96B9AC4-7C58-1282-0211-B1314D61E07C}"/>
          </ac:spMkLst>
        </pc:spChg>
        <pc:spChg chg="mod">
          <ac:chgData name="Rick van 't Spijker" userId="05a3d4c8-0c7e-4bd4-a89b-7182dd0df68e" providerId="ADAL" clId="{36EB911C-DF9F-409D-B5DF-7D92D4802149}" dt="2023-09-18T17:04:06.947" v="3127" actId="571"/>
          <ac:spMkLst>
            <pc:docMk/>
            <pc:sldMk cId="1625057102" sldId="315"/>
            <ac:spMk id="122" creationId="{378828C0-B23D-35A2-49D9-8963EA854F9C}"/>
          </ac:spMkLst>
        </pc:spChg>
        <pc:spChg chg="mod">
          <ac:chgData name="Rick van 't Spijker" userId="05a3d4c8-0c7e-4bd4-a89b-7182dd0df68e" providerId="ADAL" clId="{36EB911C-DF9F-409D-B5DF-7D92D4802149}" dt="2023-09-18T17:04:06.947" v="3127" actId="571"/>
          <ac:spMkLst>
            <pc:docMk/>
            <pc:sldMk cId="1625057102" sldId="315"/>
            <ac:spMk id="123" creationId="{0B04D6DB-B683-90EC-9FD6-96B032F97D69}"/>
          </ac:spMkLst>
        </pc:spChg>
        <pc:spChg chg="mod">
          <ac:chgData name="Rick van 't Spijker" userId="05a3d4c8-0c7e-4bd4-a89b-7182dd0df68e" providerId="ADAL" clId="{36EB911C-DF9F-409D-B5DF-7D92D4802149}" dt="2023-09-18T17:04:06.947" v="3127" actId="571"/>
          <ac:spMkLst>
            <pc:docMk/>
            <pc:sldMk cId="1625057102" sldId="315"/>
            <ac:spMk id="124" creationId="{0782AB59-8A72-CF96-E451-88ED9023094B}"/>
          </ac:spMkLst>
        </pc:spChg>
        <pc:spChg chg="mod">
          <ac:chgData name="Rick van 't Spijker" userId="05a3d4c8-0c7e-4bd4-a89b-7182dd0df68e" providerId="ADAL" clId="{36EB911C-DF9F-409D-B5DF-7D92D4802149}" dt="2023-09-18T17:04:06.947" v="3127" actId="571"/>
          <ac:spMkLst>
            <pc:docMk/>
            <pc:sldMk cId="1625057102" sldId="315"/>
            <ac:spMk id="125" creationId="{3310721F-A112-6E46-9742-F307621B48B4}"/>
          </ac:spMkLst>
        </pc:spChg>
        <pc:spChg chg="mod">
          <ac:chgData name="Rick van 't Spijker" userId="05a3d4c8-0c7e-4bd4-a89b-7182dd0df68e" providerId="ADAL" clId="{36EB911C-DF9F-409D-B5DF-7D92D4802149}" dt="2023-09-18T17:04:06.947" v="3127" actId="571"/>
          <ac:spMkLst>
            <pc:docMk/>
            <pc:sldMk cId="1625057102" sldId="315"/>
            <ac:spMk id="126" creationId="{C0DD83E9-1B54-64F9-45A4-E4B1DCF98A5F}"/>
          </ac:spMkLst>
        </pc:spChg>
        <pc:spChg chg="mod">
          <ac:chgData name="Rick van 't Spijker" userId="05a3d4c8-0c7e-4bd4-a89b-7182dd0df68e" providerId="ADAL" clId="{36EB911C-DF9F-409D-B5DF-7D92D4802149}" dt="2023-09-18T17:04:06.947" v="3127" actId="571"/>
          <ac:spMkLst>
            <pc:docMk/>
            <pc:sldMk cId="1625057102" sldId="315"/>
            <ac:spMk id="127" creationId="{298FCCEB-EB26-1E82-C5E3-C910F95AF160}"/>
          </ac:spMkLst>
        </pc:spChg>
        <pc:spChg chg="mod">
          <ac:chgData name="Rick van 't Spijker" userId="05a3d4c8-0c7e-4bd4-a89b-7182dd0df68e" providerId="ADAL" clId="{36EB911C-DF9F-409D-B5DF-7D92D4802149}" dt="2023-09-18T17:04:06.947" v="3127" actId="571"/>
          <ac:spMkLst>
            <pc:docMk/>
            <pc:sldMk cId="1625057102" sldId="315"/>
            <ac:spMk id="128" creationId="{4D5A72FE-BB54-7A9F-26F5-1592CD1EA853}"/>
          </ac:spMkLst>
        </pc:spChg>
        <pc:spChg chg="mod">
          <ac:chgData name="Rick van 't Spijker" userId="05a3d4c8-0c7e-4bd4-a89b-7182dd0df68e" providerId="ADAL" clId="{36EB911C-DF9F-409D-B5DF-7D92D4802149}" dt="2023-09-18T17:04:16.989" v="3128" actId="571"/>
          <ac:spMkLst>
            <pc:docMk/>
            <pc:sldMk cId="1625057102" sldId="315"/>
            <ac:spMk id="130" creationId="{AAE6F345-B863-DB5C-0521-C543B57D8EE6}"/>
          </ac:spMkLst>
        </pc:spChg>
        <pc:spChg chg="mod">
          <ac:chgData name="Rick van 't Spijker" userId="05a3d4c8-0c7e-4bd4-a89b-7182dd0df68e" providerId="ADAL" clId="{36EB911C-DF9F-409D-B5DF-7D92D4802149}" dt="2023-09-18T17:04:16.989" v="3128" actId="571"/>
          <ac:spMkLst>
            <pc:docMk/>
            <pc:sldMk cId="1625057102" sldId="315"/>
            <ac:spMk id="131" creationId="{06D8D9AA-F689-F934-7F6E-D500D69C685D}"/>
          </ac:spMkLst>
        </pc:spChg>
        <pc:spChg chg="mod">
          <ac:chgData name="Rick van 't Spijker" userId="05a3d4c8-0c7e-4bd4-a89b-7182dd0df68e" providerId="ADAL" clId="{36EB911C-DF9F-409D-B5DF-7D92D4802149}" dt="2023-09-18T17:04:16.989" v="3128" actId="571"/>
          <ac:spMkLst>
            <pc:docMk/>
            <pc:sldMk cId="1625057102" sldId="315"/>
            <ac:spMk id="132" creationId="{D5F92538-8806-BD05-1443-313CA44AEF0B}"/>
          </ac:spMkLst>
        </pc:spChg>
        <pc:spChg chg="mod">
          <ac:chgData name="Rick van 't Spijker" userId="05a3d4c8-0c7e-4bd4-a89b-7182dd0df68e" providerId="ADAL" clId="{36EB911C-DF9F-409D-B5DF-7D92D4802149}" dt="2023-09-18T17:04:16.989" v="3128" actId="571"/>
          <ac:spMkLst>
            <pc:docMk/>
            <pc:sldMk cId="1625057102" sldId="315"/>
            <ac:spMk id="133" creationId="{74669BB4-F244-68D1-A7F6-C270C2D7DC35}"/>
          </ac:spMkLst>
        </pc:spChg>
        <pc:spChg chg="mod">
          <ac:chgData name="Rick van 't Spijker" userId="05a3d4c8-0c7e-4bd4-a89b-7182dd0df68e" providerId="ADAL" clId="{36EB911C-DF9F-409D-B5DF-7D92D4802149}" dt="2023-09-18T17:04:16.989" v="3128" actId="571"/>
          <ac:spMkLst>
            <pc:docMk/>
            <pc:sldMk cId="1625057102" sldId="315"/>
            <ac:spMk id="134" creationId="{03B95F2A-F2FF-6942-9302-E20103020493}"/>
          </ac:spMkLst>
        </pc:spChg>
        <pc:spChg chg="mod">
          <ac:chgData name="Rick van 't Spijker" userId="05a3d4c8-0c7e-4bd4-a89b-7182dd0df68e" providerId="ADAL" clId="{36EB911C-DF9F-409D-B5DF-7D92D4802149}" dt="2023-09-18T17:04:16.989" v="3128" actId="571"/>
          <ac:spMkLst>
            <pc:docMk/>
            <pc:sldMk cId="1625057102" sldId="315"/>
            <ac:spMk id="135" creationId="{4A21E0C4-B42A-1648-D037-E16E56866548}"/>
          </ac:spMkLst>
        </pc:spChg>
        <pc:spChg chg="mod">
          <ac:chgData name="Rick van 't Spijker" userId="05a3d4c8-0c7e-4bd4-a89b-7182dd0df68e" providerId="ADAL" clId="{36EB911C-DF9F-409D-B5DF-7D92D4802149}" dt="2023-09-18T17:04:16.989" v="3128" actId="571"/>
          <ac:spMkLst>
            <pc:docMk/>
            <pc:sldMk cId="1625057102" sldId="315"/>
            <ac:spMk id="136" creationId="{14FDD38E-C673-C4F6-E376-E736EB80EF9E}"/>
          </ac:spMkLst>
        </pc:spChg>
        <pc:spChg chg="mod">
          <ac:chgData name="Rick van 't Spijker" userId="05a3d4c8-0c7e-4bd4-a89b-7182dd0df68e" providerId="ADAL" clId="{36EB911C-DF9F-409D-B5DF-7D92D4802149}" dt="2023-09-18T17:04:16.989" v="3128" actId="571"/>
          <ac:spMkLst>
            <pc:docMk/>
            <pc:sldMk cId="1625057102" sldId="315"/>
            <ac:spMk id="137" creationId="{171F2FC9-AD6B-7268-C395-D3A39FC8DE55}"/>
          </ac:spMkLst>
        </pc:spChg>
        <pc:spChg chg="mod">
          <ac:chgData name="Rick van 't Spijker" userId="05a3d4c8-0c7e-4bd4-a89b-7182dd0df68e" providerId="ADAL" clId="{36EB911C-DF9F-409D-B5DF-7D92D4802149}" dt="2023-09-18T17:04:16.989" v="3128" actId="571"/>
          <ac:spMkLst>
            <pc:docMk/>
            <pc:sldMk cId="1625057102" sldId="315"/>
            <ac:spMk id="138" creationId="{DB64E1BA-A9F7-6C71-C47D-00D310080F70}"/>
          </ac:spMkLst>
        </pc:spChg>
        <pc:spChg chg="mod">
          <ac:chgData name="Rick van 't Spijker" userId="05a3d4c8-0c7e-4bd4-a89b-7182dd0df68e" providerId="ADAL" clId="{36EB911C-DF9F-409D-B5DF-7D92D4802149}" dt="2023-09-18T17:04:16.989" v="3128" actId="571"/>
          <ac:spMkLst>
            <pc:docMk/>
            <pc:sldMk cId="1625057102" sldId="315"/>
            <ac:spMk id="139" creationId="{6466D1BB-F9C5-8263-E7CB-B01E0A4919F6}"/>
          </ac:spMkLst>
        </pc:spChg>
        <pc:spChg chg="mod">
          <ac:chgData name="Rick van 't Spijker" userId="05a3d4c8-0c7e-4bd4-a89b-7182dd0df68e" providerId="ADAL" clId="{36EB911C-DF9F-409D-B5DF-7D92D4802149}" dt="2023-09-18T17:04:16.989" v="3128" actId="571"/>
          <ac:spMkLst>
            <pc:docMk/>
            <pc:sldMk cId="1625057102" sldId="315"/>
            <ac:spMk id="140" creationId="{9732F6A7-F79C-91C1-D56F-C7544C51074F}"/>
          </ac:spMkLst>
        </pc:spChg>
        <pc:spChg chg="mod">
          <ac:chgData name="Rick van 't Spijker" userId="05a3d4c8-0c7e-4bd4-a89b-7182dd0df68e" providerId="ADAL" clId="{36EB911C-DF9F-409D-B5DF-7D92D4802149}" dt="2023-09-18T17:04:16.989" v="3128" actId="571"/>
          <ac:spMkLst>
            <pc:docMk/>
            <pc:sldMk cId="1625057102" sldId="315"/>
            <ac:spMk id="141" creationId="{754FBD38-A521-6B2B-8AEE-425F0354FDD2}"/>
          </ac:spMkLst>
        </pc:spChg>
        <pc:spChg chg="mod">
          <ac:chgData name="Rick van 't Spijker" userId="05a3d4c8-0c7e-4bd4-a89b-7182dd0df68e" providerId="ADAL" clId="{36EB911C-DF9F-409D-B5DF-7D92D4802149}" dt="2023-09-18T17:04:16.989" v="3128" actId="571"/>
          <ac:spMkLst>
            <pc:docMk/>
            <pc:sldMk cId="1625057102" sldId="315"/>
            <ac:spMk id="142" creationId="{11CAE64D-3BD4-D44F-A4DB-A139AFA41C67}"/>
          </ac:spMkLst>
        </pc:spChg>
        <pc:spChg chg="mod">
          <ac:chgData name="Rick van 't Spijker" userId="05a3d4c8-0c7e-4bd4-a89b-7182dd0df68e" providerId="ADAL" clId="{36EB911C-DF9F-409D-B5DF-7D92D4802149}" dt="2023-09-18T17:04:16.989" v="3128" actId="571"/>
          <ac:spMkLst>
            <pc:docMk/>
            <pc:sldMk cId="1625057102" sldId="315"/>
            <ac:spMk id="143" creationId="{153FA1A9-66C0-67BA-3992-E532FDB0D288}"/>
          </ac:spMkLst>
        </pc:spChg>
        <pc:spChg chg="mod">
          <ac:chgData name="Rick van 't Spijker" userId="05a3d4c8-0c7e-4bd4-a89b-7182dd0df68e" providerId="ADAL" clId="{36EB911C-DF9F-409D-B5DF-7D92D4802149}" dt="2023-09-18T17:06:26.251" v="3135" actId="571"/>
          <ac:spMkLst>
            <pc:docMk/>
            <pc:sldMk cId="1625057102" sldId="315"/>
            <ac:spMk id="147" creationId="{D6F22C48-77A3-32ED-82A4-F112F202C4A9}"/>
          </ac:spMkLst>
        </pc:spChg>
        <pc:spChg chg="mod">
          <ac:chgData name="Rick van 't Spijker" userId="05a3d4c8-0c7e-4bd4-a89b-7182dd0df68e" providerId="ADAL" clId="{36EB911C-DF9F-409D-B5DF-7D92D4802149}" dt="2023-09-18T17:06:26.251" v="3135" actId="571"/>
          <ac:spMkLst>
            <pc:docMk/>
            <pc:sldMk cId="1625057102" sldId="315"/>
            <ac:spMk id="148" creationId="{841524BF-D2A3-AB95-122F-2278C2DEDBE7}"/>
          </ac:spMkLst>
        </pc:spChg>
        <pc:spChg chg="mod">
          <ac:chgData name="Rick van 't Spijker" userId="05a3d4c8-0c7e-4bd4-a89b-7182dd0df68e" providerId="ADAL" clId="{36EB911C-DF9F-409D-B5DF-7D92D4802149}" dt="2023-09-18T17:06:26.251" v="3135" actId="571"/>
          <ac:spMkLst>
            <pc:docMk/>
            <pc:sldMk cId="1625057102" sldId="315"/>
            <ac:spMk id="149" creationId="{8B85BAB6-B84E-3840-70F4-CC7809980C17}"/>
          </ac:spMkLst>
        </pc:spChg>
        <pc:spChg chg="mod">
          <ac:chgData name="Rick van 't Spijker" userId="05a3d4c8-0c7e-4bd4-a89b-7182dd0df68e" providerId="ADAL" clId="{36EB911C-DF9F-409D-B5DF-7D92D4802149}" dt="2023-09-18T17:06:26.251" v="3135" actId="571"/>
          <ac:spMkLst>
            <pc:docMk/>
            <pc:sldMk cId="1625057102" sldId="315"/>
            <ac:spMk id="150" creationId="{DEEF32B0-E23B-F255-1AAC-B0B0408DD5B6}"/>
          </ac:spMkLst>
        </pc:spChg>
        <pc:spChg chg="mod">
          <ac:chgData name="Rick van 't Spijker" userId="05a3d4c8-0c7e-4bd4-a89b-7182dd0df68e" providerId="ADAL" clId="{36EB911C-DF9F-409D-B5DF-7D92D4802149}" dt="2023-09-18T17:06:26.251" v="3135" actId="571"/>
          <ac:spMkLst>
            <pc:docMk/>
            <pc:sldMk cId="1625057102" sldId="315"/>
            <ac:spMk id="151" creationId="{859960F6-08EF-E783-1856-7158A34FC9D9}"/>
          </ac:spMkLst>
        </pc:spChg>
        <pc:spChg chg="mod">
          <ac:chgData name="Rick van 't Spijker" userId="05a3d4c8-0c7e-4bd4-a89b-7182dd0df68e" providerId="ADAL" clId="{36EB911C-DF9F-409D-B5DF-7D92D4802149}" dt="2023-09-18T17:06:26.251" v="3135" actId="571"/>
          <ac:spMkLst>
            <pc:docMk/>
            <pc:sldMk cId="1625057102" sldId="315"/>
            <ac:spMk id="152" creationId="{ED984AC2-BFE9-A055-5692-88AC6C1E99EF}"/>
          </ac:spMkLst>
        </pc:spChg>
        <pc:spChg chg="mod">
          <ac:chgData name="Rick van 't Spijker" userId="05a3d4c8-0c7e-4bd4-a89b-7182dd0df68e" providerId="ADAL" clId="{36EB911C-DF9F-409D-B5DF-7D92D4802149}" dt="2023-09-18T17:06:26.251" v="3135" actId="571"/>
          <ac:spMkLst>
            <pc:docMk/>
            <pc:sldMk cId="1625057102" sldId="315"/>
            <ac:spMk id="153" creationId="{1C8AF9DB-F454-B9F0-972D-64AA841B6957}"/>
          </ac:spMkLst>
        </pc:spChg>
        <pc:spChg chg="mod">
          <ac:chgData name="Rick van 't Spijker" userId="05a3d4c8-0c7e-4bd4-a89b-7182dd0df68e" providerId="ADAL" clId="{36EB911C-DF9F-409D-B5DF-7D92D4802149}" dt="2023-09-18T17:06:26.251" v="3135" actId="571"/>
          <ac:spMkLst>
            <pc:docMk/>
            <pc:sldMk cId="1625057102" sldId="315"/>
            <ac:spMk id="154" creationId="{90BD22DE-8DE5-0699-A4B7-A40696F08415}"/>
          </ac:spMkLst>
        </pc:spChg>
        <pc:spChg chg="mod">
          <ac:chgData name="Rick van 't Spijker" userId="05a3d4c8-0c7e-4bd4-a89b-7182dd0df68e" providerId="ADAL" clId="{36EB911C-DF9F-409D-B5DF-7D92D4802149}" dt="2023-09-18T17:06:26.251" v="3135" actId="571"/>
          <ac:spMkLst>
            <pc:docMk/>
            <pc:sldMk cId="1625057102" sldId="315"/>
            <ac:spMk id="155" creationId="{CA1F7A90-6735-C383-98AA-55025340AE89}"/>
          </ac:spMkLst>
        </pc:spChg>
        <pc:spChg chg="mod">
          <ac:chgData name="Rick van 't Spijker" userId="05a3d4c8-0c7e-4bd4-a89b-7182dd0df68e" providerId="ADAL" clId="{36EB911C-DF9F-409D-B5DF-7D92D4802149}" dt="2023-09-18T17:06:26.251" v="3135" actId="571"/>
          <ac:spMkLst>
            <pc:docMk/>
            <pc:sldMk cId="1625057102" sldId="315"/>
            <ac:spMk id="156" creationId="{DDA9101F-501B-0827-79D4-A698EA6E82A9}"/>
          </ac:spMkLst>
        </pc:spChg>
        <pc:spChg chg="mod">
          <ac:chgData name="Rick van 't Spijker" userId="05a3d4c8-0c7e-4bd4-a89b-7182dd0df68e" providerId="ADAL" clId="{36EB911C-DF9F-409D-B5DF-7D92D4802149}" dt="2023-09-18T17:06:26.251" v="3135" actId="571"/>
          <ac:spMkLst>
            <pc:docMk/>
            <pc:sldMk cId="1625057102" sldId="315"/>
            <ac:spMk id="157" creationId="{0CE09E1B-C135-BAB3-206C-8A040A0A0A7B}"/>
          </ac:spMkLst>
        </pc:spChg>
        <pc:spChg chg="mod">
          <ac:chgData name="Rick van 't Spijker" userId="05a3d4c8-0c7e-4bd4-a89b-7182dd0df68e" providerId="ADAL" clId="{36EB911C-DF9F-409D-B5DF-7D92D4802149}" dt="2023-09-18T17:06:26.251" v="3135" actId="571"/>
          <ac:spMkLst>
            <pc:docMk/>
            <pc:sldMk cId="1625057102" sldId="315"/>
            <ac:spMk id="158" creationId="{4B0C1347-B54C-7CCB-65E6-A82CE74629CB}"/>
          </ac:spMkLst>
        </pc:spChg>
        <pc:spChg chg="mod">
          <ac:chgData name="Rick van 't Spijker" userId="05a3d4c8-0c7e-4bd4-a89b-7182dd0df68e" providerId="ADAL" clId="{36EB911C-DF9F-409D-B5DF-7D92D4802149}" dt="2023-09-18T17:06:26.251" v="3135" actId="571"/>
          <ac:spMkLst>
            <pc:docMk/>
            <pc:sldMk cId="1625057102" sldId="315"/>
            <ac:spMk id="159" creationId="{BF8A2AEB-4A8E-DAF5-4FDD-A6192E7A6547}"/>
          </ac:spMkLst>
        </pc:spChg>
        <pc:spChg chg="mod">
          <ac:chgData name="Rick van 't Spijker" userId="05a3d4c8-0c7e-4bd4-a89b-7182dd0df68e" providerId="ADAL" clId="{36EB911C-DF9F-409D-B5DF-7D92D4802149}" dt="2023-09-18T17:06:26.251" v="3135" actId="571"/>
          <ac:spMkLst>
            <pc:docMk/>
            <pc:sldMk cId="1625057102" sldId="315"/>
            <ac:spMk id="160" creationId="{B02D2269-962E-08A8-F56F-E66C9DC31D9B}"/>
          </ac:spMkLst>
        </pc:spChg>
        <pc:spChg chg="add del mod ord">
          <ac:chgData name="Rick van 't Spijker" userId="05a3d4c8-0c7e-4bd4-a89b-7182dd0df68e" providerId="ADAL" clId="{36EB911C-DF9F-409D-B5DF-7D92D4802149}" dt="2023-09-18T17:12:57.005" v="3164" actId="700"/>
          <ac:spMkLst>
            <pc:docMk/>
            <pc:sldMk cId="1625057102" sldId="315"/>
            <ac:spMk id="161" creationId="{2E7162BB-FB69-F0DA-21A4-8325B8AD6D2A}"/>
          </ac:spMkLst>
        </pc:spChg>
        <pc:spChg chg="add del mod ord">
          <ac:chgData name="Rick van 't Spijker" userId="05a3d4c8-0c7e-4bd4-a89b-7182dd0df68e" providerId="ADAL" clId="{36EB911C-DF9F-409D-B5DF-7D92D4802149}" dt="2023-09-18T17:13:12.866" v="3166" actId="700"/>
          <ac:spMkLst>
            <pc:docMk/>
            <pc:sldMk cId="1625057102" sldId="315"/>
            <ac:spMk id="162" creationId="{1E16DDEE-3A7E-5C70-C794-B1D2284D2731}"/>
          </ac:spMkLst>
        </pc:spChg>
        <pc:spChg chg="add del mod ord">
          <ac:chgData name="Rick van 't Spijker" userId="05a3d4c8-0c7e-4bd4-a89b-7182dd0df68e" providerId="ADAL" clId="{36EB911C-DF9F-409D-B5DF-7D92D4802149}" dt="2023-09-18T17:13:22.321" v="3169" actId="700"/>
          <ac:spMkLst>
            <pc:docMk/>
            <pc:sldMk cId="1625057102" sldId="315"/>
            <ac:spMk id="163" creationId="{450C1F9E-512A-5C0A-34B1-5C3E611BB963}"/>
          </ac:spMkLst>
        </pc:spChg>
        <pc:spChg chg="add del mod ord">
          <ac:chgData name="Rick van 't Spijker" userId="05a3d4c8-0c7e-4bd4-a89b-7182dd0df68e" providerId="ADAL" clId="{36EB911C-DF9F-409D-B5DF-7D92D4802149}" dt="2023-09-18T17:13:22.321" v="3169" actId="700"/>
          <ac:spMkLst>
            <pc:docMk/>
            <pc:sldMk cId="1625057102" sldId="315"/>
            <ac:spMk id="164" creationId="{CF9B426C-E806-55D7-1B4C-C0F1D6DED2C9}"/>
          </ac:spMkLst>
        </pc:spChg>
        <pc:spChg chg="add del mod">
          <ac:chgData name="Rick van 't Spijker" userId="05a3d4c8-0c7e-4bd4-a89b-7182dd0df68e" providerId="ADAL" clId="{36EB911C-DF9F-409D-B5DF-7D92D4802149}" dt="2023-09-18T17:28:26.020" v="3383" actId="478"/>
          <ac:spMkLst>
            <pc:docMk/>
            <pc:sldMk cId="1625057102" sldId="315"/>
            <ac:spMk id="165" creationId="{98FB21BD-E013-BE22-DD7B-695ED7D22AD6}"/>
          </ac:spMkLst>
        </pc:spChg>
        <pc:spChg chg="add del mod">
          <ac:chgData name="Rick van 't Spijker" userId="05a3d4c8-0c7e-4bd4-a89b-7182dd0df68e" providerId="ADAL" clId="{36EB911C-DF9F-409D-B5DF-7D92D4802149}" dt="2023-09-18T17:40:18.857" v="3409" actId="478"/>
          <ac:spMkLst>
            <pc:docMk/>
            <pc:sldMk cId="1625057102" sldId="315"/>
            <ac:spMk id="171" creationId="{199676EB-0382-A6CF-075C-F2D4A7E6009C}"/>
          </ac:spMkLst>
        </pc:spChg>
        <pc:spChg chg="add del mod">
          <ac:chgData name="Rick van 't Spijker" userId="05a3d4c8-0c7e-4bd4-a89b-7182dd0df68e" providerId="ADAL" clId="{36EB911C-DF9F-409D-B5DF-7D92D4802149}" dt="2023-09-18T17:40:18.857" v="3409" actId="478"/>
          <ac:spMkLst>
            <pc:docMk/>
            <pc:sldMk cId="1625057102" sldId="315"/>
            <ac:spMk id="172" creationId="{5FD87D62-9FC2-310F-B334-410C78ED0448}"/>
          </ac:spMkLst>
        </pc:spChg>
        <pc:spChg chg="add del mod">
          <ac:chgData name="Rick van 't Spijker" userId="05a3d4c8-0c7e-4bd4-a89b-7182dd0df68e" providerId="ADAL" clId="{36EB911C-DF9F-409D-B5DF-7D92D4802149}" dt="2023-09-18T19:59:27.187" v="3784" actId="478"/>
          <ac:spMkLst>
            <pc:docMk/>
            <pc:sldMk cId="1625057102" sldId="315"/>
            <ac:spMk id="204" creationId="{BF30D8FD-C67F-C7EC-3A4A-C7A9FD9F7097}"/>
          </ac:spMkLst>
        </pc:spChg>
        <pc:grpChg chg="add mod">
          <ac:chgData name="Rick van 't Spijker" userId="05a3d4c8-0c7e-4bd4-a89b-7182dd0df68e" providerId="ADAL" clId="{36EB911C-DF9F-409D-B5DF-7D92D4802149}" dt="2023-09-18T17:09:00.303" v="3150" actId="1076"/>
          <ac:grpSpMkLst>
            <pc:docMk/>
            <pc:sldMk cId="1625057102" sldId="315"/>
            <ac:grpSpMk id="2" creationId="{3CC59461-58F0-0395-6F3C-42C60B24B1E4}"/>
          </ac:grpSpMkLst>
        </pc:grpChg>
        <pc:grpChg chg="add mod">
          <ac:chgData name="Rick van 't Spijker" userId="05a3d4c8-0c7e-4bd4-a89b-7182dd0df68e" providerId="ADAL" clId="{36EB911C-DF9F-409D-B5DF-7D92D4802149}" dt="2023-09-18T19:54:21.651" v="3760" actId="1076"/>
          <ac:grpSpMkLst>
            <pc:docMk/>
            <pc:sldMk cId="1625057102" sldId="315"/>
            <ac:grpSpMk id="99" creationId="{620DFEF5-1830-3E71-A22C-8F6CE82925C2}"/>
          </ac:grpSpMkLst>
        </pc:grpChg>
        <pc:grpChg chg="add del mod">
          <ac:chgData name="Rick van 't Spijker" userId="05a3d4c8-0c7e-4bd4-a89b-7182dd0df68e" providerId="ADAL" clId="{36EB911C-DF9F-409D-B5DF-7D92D4802149}" dt="2023-09-18T17:06:29.525" v="3136" actId="478"/>
          <ac:grpSpMkLst>
            <pc:docMk/>
            <pc:sldMk cId="1625057102" sldId="315"/>
            <ac:grpSpMk id="114" creationId="{BD5F6CA3-8E3D-56AB-02E8-B37B9BA5AE57}"/>
          </ac:grpSpMkLst>
        </pc:grpChg>
        <pc:grpChg chg="add mod">
          <ac:chgData name="Rick van 't Spijker" userId="05a3d4c8-0c7e-4bd4-a89b-7182dd0df68e" providerId="ADAL" clId="{36EB911C-DF9F-409D-B5DF-7D92D4802149}" dt="2023-09-18T19:53:18.231" v="3752" actId="1076"/>
          <ac:grpSpMkLst>
            <pc:docMk/>
            <pc:sldMk cId="1625057102" sldId="315"/>
            <ac:grpSpMk id="129" creationId="{F500F0FA-BCF7-4D39-B759-85B92E600A6C}"/>
          </ac:grpSpMkLst>
        </pc:grpChg>
        <pc:grpChg chg="add mod">
          <ac:chgData name="Rick van 't Spijker" userId="05a3d4c8-0c7e-4bd4-a89b-7182dd0df68e" providerId="ADAL" clId="{36EB911C-DF9F-409D-B5DF-7D92D4802149}" dt="2023-09-18T19:52:55.033" v="3749" actId="1076"/>
          <ac:grpSpMkLst>
            <pc:docMk/>
            <pc:sldMk cId="1625057102" sldId="315"/>
            <ac:grpSpMk id="146" creationId="{6FB5D7E5-1D06-C77B-E611-89A699B2829C}"/>
          </ac:grpSpMkLst>
        </pc:grpChg>
        <pc:picChg chg="add mod">
          <ac:chgData name="Rick van 't Spijker" userId="05a3d4c8-0c7e-4bd4-a89b-7182dd0df68e" providerId="ADAL" clId="{36EB911C-DF9F-409D-B5DF-7D92D4802149}" dt="2023-09-18T17:04:27.992" v="3129" actId="1076"/>
          <ac:picMkLst>
            <pc:docMk/>
            <pc:sldMk cId="1625057102" sldId="315"/>
            <ac:picMk id="96" creationId="{F31BB7B8-EF59-70D5-277C-03219265386E}"/>
          </ac:picMkLst>
        </pc:picChg>
        <pc:picChg chg="add mod">
          <ac:chgData name="Rick van 't Spijker" userId="05a3d4c8-0c7e-4bd4-a89b-7182dd0df68e" providerId="ADAL" clId="{36EB911C-DF9F-409D-B5DF-7D92D4802149}" dt="2023-09-18T17:05:43.948" v="3130" actId="1076"/>
          <ac:picMkLst>
            <pc:docMk/>
            <pc:sldMk cId="1625057102" sldId="315"/>
            <ac:picMk id="97" creationId="{8A7DA763-355D-138F-57C2-845AD86AD334}"/>
          </ac:picMkLst>
        </pc:picChg>
        <pc:picChg chg="add mod">
          <ac:chgData name="Rick van 't Spijker" userId="05a3d4c8-0c7e-4bd4-a89b-7182dd0df68e" providerId="ADAL" clId="{36EB911C-DF9F-409D-B5DF-7D92D4802149}" dt="2023-09-18T17:05:49.092" v="3131" actId="1076"/>
          <ac:picMkLst>
            <pc:docMk/>
            <pc:sldMk cId="1625057102" sldId="315"/>
            <ac:picMk id="98" creationId="{93D52674-D615-B329-38F4-DFD3938A4CF7}"/>
          </ac:picMkLst>
        </pc:picChg>
        <pc:picChg chg="add mod">
          <ac:chgData name="Rick van 't Spijker" userId="05a3d4c8-0c7e-4bd4-a89b-7182dd0df68e" providerId="ADAL" clId="{36EB911C-DF9F-409D-B5DF-7D92D4802149}" dt="2023-09-18T17:05:54.731" v="3132" actId="571"/>
          <ac:picMkLst>
            <pc:docMk/>
            <pc:sldMk cId="1625057102" sldId="315"/>
            <ac:picMk id="144" creationId="{3218754F-B6CF-69D3-0062-7EB48EA1AFE9}"/>
          </ac:picMkLst>
        </pc:picChg>
        <pc:picChg chg="add mod">
          <ac:chgData name="Rick van 't Spijker" userId="05a3d4c8-0c7e-4bd4-a89b-7182dd0df68e" providerId="ADAL" clId="{36EB911C-DF9F-409D-B5DF-7D92D4802149}" dt="2023-09-18T17:05:58.821" v="3133" actId="571"/>
          <ac:picMkLst>
            <pc:docMk/>
            <pc:sldMk cId="1625057102" sldId="315"/>
            <ac:picMk id="145" creationId="{8AB0EE98-8CAF-C624-5203-805E3C0C6797}"/>
          </ac:picMkLst>
        </pc:picChg>
        <pc:picChg chg="add mod">
          <ac:chgData name="Rick van 't Spijker" userId="05a3d4c8-0c7e-4bd4-a89b-7182dd0df68e" providerId="ADAL" clId="{36EB911C-DF9F-409D-B5DF-7D92D4802149}" dt="2023-09-19T08:30:29.325" v="6016" actId="1076"/>
          <ac:picMkLst>
            <pc:docMk/>
            <pc:sldMk cId="1625057102" sldId="315"/>
            <ac:picMk id="166" creationId="{C5374650-E4C1-BABA-1BE0-CD4C60ED1782}"/>
          </ac:picMkLst>
        </pc:picChg>
        <pc:picChg chg="add del mod">
          <ac:chgData name="Rick van 't Spijker" userId="05a3d4c8-0c7e-4bd4-a89b-7182dd0df68e" providerId="ADAL" clId="{36EB911C-DF9F-409D-B5DF-7D92D4802149}" dt="2023-09-18T17:32:37.864" v="3390"/>
          <ac:picMkLst>
            <pc:docMk/>
            <pc:sldMk cId="1625057102" sldId="315"/>
            <ac:picMk id="167" creationId="{FE055940-0EA2-003E-53F1-48EAC559A910}"/>
          </ac:picMkLst>
        </pc:picChg>
        <pc:picChg chg="add del mod">
          <ac:chgData name="Rick van 't Spijker" userId="05a3d4c8-0c7e-4bd4-a89b-7182dd0df68e" providerId="ADAL" clId="{36EB911C-DF9F-409D-B5DF-7D92D4802149}" dt="2023-09-18T17:37:22.328" v="3399" actId="478"/>
          <ac:picMkLst>
            <pc:docMk/>
            <pc:sldMk cId="1625057102" sldId="315"/>
            <ac:picMk id="168" creationId="{B1106E7D-5E5F-3D32-0966-60DA928C561A}"/>
          </ac:picMkLst>
        </pc:picChg>
        <pc:picChg chg="add del mod">
          <ac:chgData name="Rick van 't Spijker" userId="05a3d4c8-0c7e-4bd4-a89b-7182dd0df68e" providerId="ADAL" clId="{36EB911C-DF9F-409D-B5DF-7D92D4802149}" dt="2023-09-18T17:37:47.336" v="3403"/>
          <ac:picMkLst>
            <pc:docMk/>
            <pc:sldMk cId="1625057102" sldId="315"/>
            <ac:picMk id="169" creationId="{C8A0170A-7EBB-5E28-8D13-187D4BA41005}"/>
          </ac:picMkLst>
        </pc:picChg>
        <pc:picChg chg="add mod">
          <ac:chgData name="Rick van 't Spijker" userId="05a3d4c8-0c7e-4bd4-a89b-7182dd0df68e" providerId="ADAL" clId="{36EB911C-DF9F-409D-B5DF-7D92D4802149}" dt="2023-09-18T17:38:07.864" v="3406" actId="1076"/>
          <ac:picMkLst>
            <pc:docMk/>
            <pc:sldMk cId="1625057102" sldId="315"/>
            <ac:picMk id="170" creationId="{8F68C32A-9086-8B64-A16D-D4E12FFC7BC4}"/>
          </ac:picMkLst>
        </pc:picChg>
        <pc:picChg chg="add mod">
          <ac:chgData name="Rick van 't Spijker" userId="05a3d4c8-0c7e-4bd4-a89b-7182dd0df68e" providerId="ADAL" clId="{36EB911C-DF9F-409D-B5DF-7D92D4802149}" dt="2023-09-18T17:42:16.222" v="3413"/>
          <ac:picMkLst>
            <pc:docMk/>
            <pc:sldMk cId="1625057102" sldId="315"/>
            <ac:picMk id="174" creationId="{7F4B246D-4599-F5AD-9771-D031B618199D}"/>
          </ac:picMkLst>
        </pc:picChg>
        <pc:picChg chg="add mod">
          <ac:chgData name="Rick van 't Spijker" userId="05a3d4c8-0c7e-4bd4-a89b-7182dd0df68e" providerId="ADAL" clId="{36EB911C-DF9F-409D-B5DF-7D92D4802149}" dt="2023-09-18T17:43:48.153" v="3417"/>
          <ac:picMkLst>
            <pc:docMk/>
            <pc:sldMk cId="1625057102" sldId="315"/>
            <ac:picMk id="176" creationId="{88463EBB-EB17-9023-24C2-A4933DB8EF2A}"/>
          </ac:picMkLst>
        </pc:picChg>
        <pc:picChg chg="del">
          <ac:chgData name="Rick van 't Spijker" userId="05a3d4c8-0c7e-4bd4-a89b-7182dd0df68e" providerId="ADAL" clId="{36EB911C-DF9F-409D-B5DF-7D92D4802149}" dt="2023-09-14T08:59:56.472" v="2537" actId="478"/>
          <ac:picMkLst>
            <pc:docMk/>
            <pc:sldMk cId="1625057102" sldId="315"/>
            <ac:picMk id="1028" creationId="{B6D0C2FE-102C-18F7-E53E-908643A08F18}"/>
          </ac:picMkLst>
        </pc:picChg>
        <pc:cxnChg chg="add">
          <ac:chgData name="Rick van 't Spijker" userId="05a3d4c8-0c7e-4bd4-a89b-7182dd0df68e" providerId="ADAL" clId="{36EB911C-DF9F-409D-B5DF-7D92D4802149}" dt="2023-09-18T19:52:01.604" v="3736" actId="11529"/>
          <ac:cxnSpMkLst>
            <pc:docMk/>
            <pc:sldMk cId="1625057102" sldId="315"/>
            <ac:cxnSpMk id="178" creationId="{9A5A12E7-4FC4-46F0-E957-7D35D3C14507}"/>
          </ac:cxnSpMkLst>
        </pc:cxnChg>
        <pc:cxnChg chg="add">
          <ac:chgData name="Rick van 't Spijker" userId="05a3d4c8-0c7e-4bd4-a89b-7182dd0df68e" providerId="ADAL" clId="{36EB911C-DF9F-409D-B5DF-7D92D4802149}" dt="2023-09-18T19:52:10.957" v="3737" actId="11529"/>
          <ac:cxnSpMkLst>
            <pc:docMk/>
            <pc:sldMk cId="1625057102" sldId="315"/>
            <ac:cxnSpMk id="180" creationId="{4A1BF75A-88DB-02D0-E951-E0FDE3C1474A}"/>
          </ac:cxnSpMkLst>
        </pc:cxnChg>
        <pc:cxnChg chg="add mod">
          <ac:chgData name="Rick van 't Spijker" userId="05a3d4c8-0c7e-4bd4-a89b-7182dd0df68e" providerId="ADAL" clId="{36EB911C-DF9F-409D-B5DF-7D92D4802149}" dt="2023-09-18T19:52:29.872" v="3740" actId="14100"/>
          <ac:cxnSpMkLst>
            <pc:docMk/>
            <pc:sldMk cId="1625057102" sldId="315"/>
            <ac:cxnSpMk id="181" creationId="{887692B9-743C-8A29-9EE8-6E49A2D3EC4B}"/>
          </ac:cxnSpMkLst>
        </pc:cxnChg>
        <pc:cxnChg chg="add mod">
          <ac:chgData name="Rick van 't Spijker" userId="05a3d4c8-0c7e-4bd4-a89b-7182dd0df68e" providerId="ADAL" clId="{36EB911C-DF9F-409D-B5DF-7D92D4802149}" dt="2023-09-18T19:52:37.072" v="3743" actId="14100"/>
          <ac:cxnSpMkLst>
            <pc:docMk/>
            <pc:sldMk cId="1625057102" sldId="315"/>
            <ac:cxnSpMk id="184" creationId="{CF886C60-53B4-52D7-78C5-6E40656B80DD}"/>
          </ac:cxnSpMkLst>
        </pc:cxnChg>
        <pc:cxnChg chg="add mod">
          <ac:chgData name="Rick van 't Spijker" userId="05a3d4c8-0c7e-4bd4-a89b-7182dd0df68e" providerId="ADAL" clId="{36EB911C-DF9F-409D-B5DF-7D92D4802149}" dt="2023-09-18T19:52:55.033" v="3749" actId="1076"/>
          <ac:cxnSpMkLst>
            <pc:docMk/>
            <pc:sldMk cId="1625057102" sldId="315"/>
            <ac:cxnSpMk id="187" creationId="{DA6F2195-52F2-D927-DA96-96058251B456}"/>
          </ac:cxnSpMkLst>
        </pc:cxnChg>
        <pc:cxnChg chg="add mod">
          <ac:chgData name="Rick van 't Spijker" userId="05a3d4c8-0c7e-4bd4-a89b-7182dd0df68e" providerId="ADAL" clId="{36EB911C-DF9F-409D-B5DF-7D92D4802149}" dt="2023-09-18T19:53:18.231" v="3752" actId="1076"/>
          <ac:cxnSpMkLst>
            <pc:docMk/>
            <pc:sldMk cId="1625057102" sldId="315"/>
            <ac:cxnSpMk id="192" creationId="{9976FBFE-E830-4596-5A19-4425F74EED25}"/>
          </ac:cxnSpMkLst>
        </pc:cxnChg>
        <pc:cxnChg chg="add mod">
          <ac:chgData name="Rick van 't Spijker" userId="05a3d4c8-0c7e-4bd4-a89b-7182dd0df68e" providerId="ADAL" clId="{36EB911C-DF9F-409D-B5DF-7D92D4802149}" dt="2023-09-18T19:54:21.651" v="3760" actId="1076"/>
          <ac:cxnSpMkLst>
            <pc:docMk/>
            <pc:sldMk cId="1625057102" sldId="315"/>
            <ac:cxnSpMk id="194" creationId="{7869D94F-3B56-5AE9-A264-C1A17AE109D0}"/>
          </ac:cxnSpMkLst>
        </pc:cxnChg>
        <pc:cxnChg chg="add">
          <ac:chgData name="Rick van 't Spijker" userId="05a3d4c8-0c7e-4bd4-a89b-7182dd0df68e" providerId="ADAL" clId="{36EB911C-DF9F-409D-B5DF-7D92D4802149}" dt="2023-09-18T19:54:44.132" v="3761" actId="11529"/>
          <ac:cxnSpMkLst>
            <pc:docMk/>
            <pc:sldMk cId="1625057102" sldId="315"/>
            <ac:cxnSpMk id="197" creationId="{02418D5E-4F81-D281-BEB6-B8AF0B505E85}"/>
          </ac:cxnSpMkLst>
        </pc:cxnChg>
        <pc:cxnChg chg="add">
          <ac:chgData name="Rick van 't Spijker" userId="05a3d4c8-0c7e-4bd4-a89b-7182dd0df68e" providerId="ADAL" clId="{36EB911C-DF9F-409D-B5DF-7D92D4802149}" dt="2023-09-18T19:54:55.272" v="3762" actId="11529"/>
          <ac:cxnSpMkLst>
            <pc:docMk/>
            <pc:sldMk cId="1625057102" sldId="315"/>
            <ac:cxnSpMk id="199" creationId="{6955FA7C-E5C6-DA43-9E63-D3AA8EE3DE2B}"/>
          </ac:cxnSpMkLst>
        </pc:cxnChg>
        <pc:cxnChg chg="add mod">
          <ac:chgData name="Rick van 't Spijker" userId="05a3d4c8-0c7e-4bd4-a89b-7182dd0df68e" providerId="ADAL" clId="{36EB911C-DF9F-409D-B5DF-7D92D4802149}" dt="2023-09-18T19:55:09.348" v="3764" actId="14100"/>
          <ac:cxnSpMkLst>
            <pc:docMk/>
            <pc:sldMk cId="1625057102" sldId="315"/>
            <ac:cxnSpMk id="201" creationId="{2C19856F-89F9-FE66-9F1A-7596321AC57B}"/>
          </ac:cxnSpMkLst>
        </pc:cxnChg>
      </pc:sldChg>
      <pc:sldChg chg="addSp delSp modSp add mod modClrScheme chgLayout">
        <pc:chgData name="Rick van 't Spijker" userId="05a3d4c8-0c7e-4bd4-a89b-7182dd0df68e" providerId="ADAL" clId="{36EB911C-DF9F-409D-B5DF-7D92D4802149}" dt="2023-09-18T22:12:40.612" v="5403" actId="478"/>
        <pc:sldMkLst>
          <pc:docMk/>
          <pc:sldMk cId="2869555124" sldId="316"/>
        </pc:sldMkLst>
        <pc:spChg chg="add del mod">
          <ac:chgData name="Rick van 't Spijker" userId="05a3d4c8-0c7e-4bd4-a89b-7182dd0df68e" providerId="ADAL" clId="{36EB911C-DF9F-409D-B5DF-7D92D4802149}" dt="2023-09-18T22:12:40.612" v="5403" actId="478"/>
          <ac:spMkLst>
            <pc:docMk/>
            <pc:sldMk cId="2869555124" sldId="316"/>
            <ac:spMk id="3" creationId="{E228220E-5003-BF9F-2E2A-82359F048FB4}"/>
          </ac:spMkLst>
        </pc:spChg>
        <pc:spChg chg="mod ord">
          <ac:chgData name="Rick van 't Spijker" userId="05a3d4c8-0c7e-4bd4-a89b-7182dd0df68e" providerId="ADAL" clId="{36EB911C-DF9F-409D-B5DF-7D92D4802149}" dt="2023-09-18T22:12:33.914" v="5401" actId="700"/>
          <ac:spMkLst>
            <pc:docMk/>
            <pc:sldMk cId="2869555124" sldId="316"/>
            <ac:spMk id="6" creationId="{E51B649E-1CA9-2851-3927-E936AD1E73C9}"/>
          </ac:spMkLst>
        </pc:spChg>
        <pc:spChg chg="del mod ord">
          <ac:chgData name="Rick van 't Spijker" userId="05a3d4c8-0c7e-4bd4-a89b-7182dd0df68e" providerId="ADAL" clId="{36EB911C-DF9F-409D-B5DF-7D92D4802149}" dt="2023-09-18T22:12:38.167" v="5402" actId="478"/>
          <ac:spMkLst>
            <pc:docMk/>
            <pc:sldMk cId="2869555124" sldId="316"/>
            <ac:spMk id="7" creationId="{E93F1C48-8AB4-051C-A23A-C9DF6329BD95}"/>
          </ac:spMkLst>
        </pc:spChg>
      </pc:sldChg>
      <pc:sldChg chg="addSp delSp modSp new mod modClrScheme chgLayout">
        <pc:chgData name="Rick van 't Spijker" userId="05a3d4c8-0c7e-4bd4-a89b-7182dd0df68e" providerId="ADAL" clId="{36EB911C-DF9F-409D-B5DF-7D92D4802149}" dt="2023-09-18T21:47:45.812" v="4718" actId="478"/>
        <pc:sldMkLst>
          <pc:docMk/>
          <pc:sldMk cId="2674994505" sldId="317"/>
        </pc:sldMkLst>
        <pc:spChg chg="del mod ord">
          <ac:chgData name="Rick van 't Spijker" userId="05a3d4c8-0c7e-4bd4-a89b-7182dd0df68e" providerId="ADAL" clId="{36EB911C-DF9F-409D-B5DF-7D92D4802149}" dt="2023-09-18T16:57:53.368" v="3113" actId="700"/>
          <ac:spMkLst>
            <pc:docMk/>
            <pc:sldMk cId="2674994505" sldId="317"/>
            <ac:spMk id="2" creationId="{D3F67D54-D46D-4A82-AA05-A1CFDA8F23FC}"/>
          </ac:spMkLst>
        </pc:spChg>
        <pc:spChg chg="del mod ord">
          <ac:chgData name="Rick van 't Spijker" userId="05a3d4c8-0c7e-4bd4-a89b-7182dd0df68e" providerId="ADAL" clId="{36EB911C-DF9F-409D-B5DF-7D92D4802149}" dt="2023-09-18T16:57:53.368" v="3113" actId="700"/>
          <ac:spMkLst>
            <pc:docMk/>
            <pc:sldMk cId="2674994505" sldId="317"/>
            <ac:spMk id="3" creationId="{35080630-065B-9631-1F00-C65006E52F33}"/>
          </ac:spMkLst>
        </pc:spChg>
        <pc:spChg chg="add mod ord">
          <ac:chgData name="Rick van 't Spijker" userId="05a3d4c8-0c7e-4bd4-a89b-7182dd0df68e" providerId="ADAL" clId="{36EB911C-DF9F-409D-B5DF-7D92D4802149}" dt="2023-09-18T21:25:37.223" v="4597" actId="700"/>
          <ac:spMkLst>
            <pc:docMk/>
            <pc:sldMk cId="2674994505" sldId="317"/>
            <ac:spMk id="4" creationId="{57085ABF-3549-113E-E9FF-CEECC73504C9}"/>
          </ac:spMkLst>
        </pc:spChg>
        <pc:spChg chg="add del mod ord">
          <ac:chgData name="Rick van 't Spijker" userId="05a3d4c8-0c7e-4bd4-a89b-7182dd0df68e" providerId="ADAL" clId="{36EB911C-DF9F-409D-B5DF-7D92D4802149}" dt="2023-09-18T21:25:25.901" v="4596" actId="700"/>
          <ac:spMkLst>
            <pc:docMk/>
            <pc:sldMk cId="2674994505" sldId="317"/>
            <ac:spMk id="5" creationId="{464A9EF2-C45E-7CCF-1E55-88541A8C05D4}"/>
          </ac:spMkLst>
        </pc:spChg>
        <pc:spChg chg="add del mod ord">
          <ac:chgData name="Rick van 't Spijker" userId="05a3d4c8-0c7e-4bd4-a89b-7182dd0df68e" providerId="ADAL" clId="{36EB911C-DF9F-409D-B5DF-7D92D4802149}" dt="2023-09-18T21:25:25.901" v="4596" actId="700"/>
          <ac:spMkLst>
            <pc:docMk/>
            <pc:sldMk cId="2674994505" sldId="317"/>
            <ac:spMk id="6" creationId="{CD518327-9025-884A-F3FA-FB24178D4702}"/>
          </ac:spMkLst>
        </pc:spChg>
        <pc:spChg chg="add del mod ord">
          <ac:chgData name="Rick van 't Spijker" userId="05a3d4c8-0c7e-4bd4-a89b-7182dd0df68e" providerId="ADAL" clId="{36EB911C-DF9F-409D-B5DF-7D92D4802149}" dt="2023-09-18T21:25:37.223" v="4597" actId="700"/>
          <ac:spMkLst>
            <pc:docMk/>
            <pc:sldMk cId="2674994505" sldId="317"/>
            <ac:spMk id="11" creationId="{2AC4656F-87A4-96CD-5201-1840B0A67329}"/>
          </ac:spMkLst>
        </pc:spChg>
        <pc:spChg chg="add del mod ord">
          <ac:chgData name="Rick van 't Spijker" userId="05a3d4c8-0c7e-4bd4-a89b-7182dd0df68e" providerId="ADAL" clId="{36EB911C-DF9F-409D-B5DF-7D92D4802149}" dt="2023-09-18T21:25:37.223" v="4597" actId="700"/>
          <ac:spMkLst>
            <pc:docMk/>
            <pc:sldMk cId="2674994505" sldId="317"/>
            <ac:spMk id="12" creationId="{DECB0CC0-F7D9-B019-741D-943D8CD53F89}"/>
          </ac:spMkLst>
        </pc:spChg>
        <pc:spChg chg="add mod ord">
          <ac:chgData name="Rick van 't Spijker" userId="05a3d4c8-0c7e-4bd4-a89b-7182dd0df68e" providerId="ADAL" clId="{36EB911C-DF9F-409D-B5DF-7D92D4802149}" dt="2023-09-18T21:27:10.023" v="4610" actId="14100"/>
          <ac:spMkLst>
            <pc:docMk/>
            <pc:sldMk cId="2674994505" sldId="317"/>
            <ac:spMk id="13" creationId="{C76CEB92-53C1-360C-0756-9E044CE068A6}"/>
          </ac:spMkLst>
        </pc:spChg>
        <pc:spChg chg="add del mod ord">
          <ac:chgData name="Rick van 't Spijker" userId="05a3d4c8-0c7e-4bd4-a89b-7182dd0df68e" providerId="ADAL" clId="{36EB911C-DF9F-409D-B5DF-7D92D4802149}" dt="2023-09-18T21:25:44.197" v="4598" actId="478"/>
          <ac:spMkLst>
            <pc:docMk/>
            <pc:sldMk cId="2674994505" sldId="317"/>
            <ac:spMk id="14" creationId="{2519B4EA-87F8-50C0-F4AD-A617942F5C1C}"/>
          </ac:spMkLst>
        </pc:spChg>
        <pc:spChg chg="add mod">
          <ac:chgData name="Rick van 't Spijker" userId="05a3d4c8-0c7e-4bd4-a89b-7182dd0df68e" providerId="ADAL" clId="{36EB911C-DF9F-409D-B5DF-7D92D4802149}" dt="2023-09-18T21:28:19.032" v="4640" actId="1076"/>
          <ac:spMkLst>
            <pc:docMk/>
            <pc:sldMk cId="2674994505" sldId="317"/>
            <ac:spMk id="15" creationId="{AB13612A-022E-9E7C-9D6A-2B52270322C4}"/>
          </ac:spMkLst>
        </pc:spChg>
        <pc:picChg chg="add mod">
          <ac:chgData name="Rick van 't Spijker" userId="05a3d4c8-0c7e-4bd4-a89b-7182dd0df68e" providerId="ADAL" clId="{36EB911C-DF9F-409D-B5DF-7D92D4802149}" dt="2023-09-18T21:27:19.811" v="4611" actId="1076"/>
          <ac:picMkLst>
            <pc:docMk/>
            <pc:sldMk cId="2674994505" sldId="317"/>
            <ac:picMk id="7" creationId="{A5068F44-077B-35B5-71D2-0363AD2029C5}"/>
          </ac:picMkLst>
        </pc:picChg>
        <pc:picChg chg="add mod">
          <ac:chgData name="Rick van 't Spijker" userId="05a3d4c8-0c7e-4bd4-a89b-7182dd0df68e" providerId="ADAL" clId="{36EB911C-DF9F-409D-B5DF-7D92D4802149}" dt="2023-09-18T21:23:03.329" v="4592"/>
          <ac:picMkLst>
            <pc:docMk/>
            <pc:sldMk cId="2674994505" sldId="317"/>
            <ac:picMk id="8" creationId="{956533C2-3AD7-E23F-DFD1-6D81E062D07C}"/>
          </ac:picMkLst>
        </pc:picChg>
        <pc:picChg chg="add mod">
          <ac:chgData name="Rick van 't Spijker" userId="05a3d4c8-0c7e-4bd4-a89b-7182dd0df68e" providerId="ADAL" clId="{36EB911C-DF9F-409D-B5DF-7D92D4802149}" dt="2023-09-18T21:26:44.027" v="4609" actId="1076"/>
          <ac:picMkLst>
            <pc:docMk/>
            <pc:sldMk cId="2674994505" sldId="317"/>
            <ac:picMk id="10" creationId="{F9989AFB-D573-B06C-86BE-472D19BF8AB7}"/>
          </ac:picMkLst>
        </pc:picChg>
        <pc:picChg chg="add del mod">
          <ac:chgData name="Rick van 't Spijker" userId="05a3d4c8-0c7e-4bd4-a89b-7182dd0df68e" providerId="ADAL" clId="{36EB911C-DF9F-409D-B5DF-7D92D4802149}" dt="2023-09-18T21:47:45.812" v="4718" actId="478"/>
          <ac:picMkLst>
            <pc:docMk/>
            <pc:sldMk cId="2674994505" sldId="317"/>
            <ac:picMk id="2050" creationId="{A0B31315-80D1-81DA-B9F4-FA00B3A8B5CE}"/>
          </ac:picMkLst>
        </pc:picChg>
      </pc:sldChg>
      <pc:sldChg chg="addSp delSp modSp add mod modClrScheme chgLayout">
        <pc:chgData name="Rick van 't Spijker" userId="05a3d4c8-0c7e-4bd4-a89b-7182dd0df68e" providerId="ADAL" clId="{36EB911C-DF9F-409D-B5DF-7D92D4802149}" dt="2023-09-18T19:40:43.558" v="3632" actId="700"/>
        <pc:sldMkLst>
          <pc:docMk/>
          <pc:sldMk cId="1834859965" sldId="318"/>
        </pc:sldMkLst>
        <pc:spChg chg="add del">
          <ac:chgData name="Rick van 't Spijker" userId="05a3d4c8-0c7e-4bd4-a89b-7182dd0df68e" providerId="ADAL" clId="{36EB911C-DF9F-409D-B5DF-7D92D4802149}" dt="2023-09-18T19:39:02.428" v="3624" actId="22"/>
          <ac:spMkLst>
            <pc:docMk/>
            <pc:sldMk cId="1834859965" sldId="318"/>
            <ac:spMk id="3" creationId="{98D6242F-343D-4A6C-FDCE-C4E70CAFAD9A}"/>
          </ac:spMkLst>
        </pc:spChg>
        <pc:spChg chg="mod ord">
          <ac:chgData name="Rick van 't Spijker" userId="05a3d4c8-0c7e-4bd4-a89b-7182dd0df68e" providerId="ADAL" clId="{36EB911C-DF9F-409D-B5DF-7D92D4802149}" dt="2023-09-18T19:40:43.558" v="3632" actId="700"/>
          <ac:spMkLst>
            <pc:docMk/>
            <pc:sldMk cId="1834859965" sldId="318"/>
            <ac:spMk id="6" creationId="{E51B649E-1CA9-2851-3927-E936AD1E73C9}"/>
          </ac:spMkLst>
        </pc:spChg>
        <pc:spChg chg="mod ord">
          <ac:chgData name="Rick van 't Spijker" userId="05a3d4c8-0c7e-4bd4-a89b-7182dd0df68e" providerId="ADAL" clId="{36EB911C-DF9F-409D-B5DF-7D92D4802149}" dt="2023-09-18T19:40:43.558" v="3632" actId="700"/>
          <ac:spMkLst>
            <pc:docMk/>
            <pc:sldMk cId="1834859965" sldId="318"/>
            <ac:spMk id="7" creationId="{E93F1C48-8AB4-051C-A23A-C9DF6329BD95}"/>
          </ac:spMkLst>
        </pc:spChg>
      </pc:sldChg>
      <pc:sldChg chg="modSp new del mod">
        <pc:chgData name="Rick van 't Spijker" userId="05a3d4c8-0c7e-4bd4-a89b-7182dd0df68e" providerId="ADAL" clId="{36EB911C-DF9F-409D-B5DF-7D92D4802149}" dt="2023-09-19T09:29:10.819" v="6780" actId="47"/>
        <pc:sldMkLst>
          <pc:docMk/>
          <pc:sldMk cId="719953616" sldId="319"/>
        </pc:sldMkLst>
        <pc:spChg chg="mod">
          <ac:chgData name="Rick van 't Spijker" userId="05a3d4c8-0c7e-4bd4-a89b-7182dd0df68e" providerId="ADAL" clId="{36EB911C-DF9F-409D-B5DF-7D92D4802149}" dt="2023-09-18T22:10:58.516" v="5399" actId="20577"/>
          <ac:spMkLst>
            <pc:docMk/>
            <pc:sldMk cId="719953616" sldId="319"/>
            <ac:spMk id="4" creationId="{31C29416-D78B-1E97-BA0E-7AA5582659D3}"/>
          </ac:spMkLst>
        </pc:spChg>
      </pc:sldChg>
      <pc:sldChg chg="addSp delSp modSp new del mod ord modClrScheme chgLayout">
        <pc:chgData name="Rick van 't Spijker" userId="05a3d4c8-0c7e-4bd4-a89b-7182dd0df68e" providerId="ADAL" clId="{36EB911C-DF9F-409D-B5DF-7D92D4802149}" dt="2023-09-19T09:31:48.219" v="6811" actId="47"/>
        <pc:sldMkLst>
          <pc:docMk/>
          <pc:sldMk cId="2546557358" sldId="320"/>
        </pc:sldMkLst>
        <pc:spChg chg="mod ord">
          <ac:chgData name="Rick van 't Spijker" userId="05a3d4c8-0c7e-4bd4-a89b-7182dd0df68e" providerId="ADAL" clId="{36EB911C-DF9F-409D-B5DF-7D92D4802149}" dt="2023-09-18T21:39:03.279" v="4672" actId="13926"/>
          <ac:spMkLst>
            <pc:docMk/>
            <pc:sldMk cId="2546557358" sldId="320"/>
            <ac:spMk id="2" creationId="{81F6E2C8-5F7F-DB01-1913-07A57F8B3D57}"/>
          </ac:spMkLst>
        </pc:spChg>
        <pc:spChg chg="del mod ord">
          <ac:chgData name="Rick van 't Spijker" userId="05a3d4c8-0c7e-4bd4-a89b-7182dd0df68e" providerId="ADAL" clId="{36EB911C-DF9F-409D-B5DF-7D92D4802149}" dt="2023-09-18T20:01:23.891" v="3796" actId="700"/>
          <ac:spMkLst>
            <pc:docMk/>
            <pc:sldMk cId="2546557358" sldId="320"/>
            <ac:spMk id="3" creationId="{0816B3EE-892A-E467-D1B8-B4064A449C65}"/>
          </ac:spMkLst>
        </pc:spChg>
        <pc:spChg chg="del mod ord">
          <ac:chgData name="Rick van 't Spijker" userId="05a3d4c8-0c7e-4bd4-a89b-7182dd0df68e" providerId="ADAL" clId="{36EB911C-DF9F-409D-B5DF-7D92D4802149}" dt="2023-09-18T20:01:23.891" v="3796" actId="700"/>
          <ac:spMkLst>
            <pc:docMk/>
            <pc:sldMk cId="2546557358" sldId="320"/>
            <ac:spMk id="4" creationId="{018A2D9D-5BBD-A1DE-D94C-640A221F1EAA}"/>
          </ac:spMkLst>
        </pc:spChg>
        <pc:spChg chg="add del mod ord">
          <ac:chgData name="Rick van 't Spijker" userId="05a3d4c8-0c7e-4bd4-a89b-7182dd0df68e" providerId="ADAL" clId="{36EB911C-DF9F-409D-B5DF-7D92D4802149}" dt="2023-09-18T21:38:28.904" v="4669" actId="478"/>
          <ac:spMkLst>
            <pc:docMk/>
            <pc:sldMk cId="2546557358" sldId="320"/>
            <ac:spMk id="5" creationId="{71045BB8-2FFD-D7A8-70B6-088ED2AE7F5D}"/>
          </ac:spMkLst>
        </pc:spChg>
        <pc:spChg chg="add del mod ord">
          <ac:chgData name="Rick van 't Spijker" userId="05a3d4c8-0c7e-4bd4-a89b-7182dd0df68e" providerId="ADAL" clId="{36EB911C-DF9F-409D-B5DF-7D92D4802149}" dt="2023-09-18T21:38:30.839" v="4670" actId="478"/>
          <ac:spMkLst>
            <pc:docMk/>
            <pc:sldMk cId="2546557358" sldId="320"/>
            <ac:spMk id="6" creationId="{619EC89D-7341-CB5F-802E-25E75B82C462}"/>
          </ac:spMkLst>
        </pc:spChg>
        <pc:picChg chg="add del mod">
          <ac:chgData name="Rick van 't Spijker" userId="05a3d4c8-0c7e-4bd4-a89b-7182dd0df68e" providerId="ADAL" clId="{36EB911C-DF9F-409D-B5DF-7D92D4802149}" dt="2023-09-19T09:31:41.307" v="6809" actId="478"/>
          <ac:picMkLst>
            <pc:docMk/>
            <pc:sldMk cId="2546557358" sldId="320"/>
            <ac:picMk id="7" creationId="{EC714584-15D3-BEFD-614E-18D8A14571EC}"/>
          </ac:picMkLst>
        </pc:picChg>
        <pc:picChg chg="add del mod">
          <ac:chgData name="Rick van 't Spijker" userId="05a3d4c8-0c7e-4bd4-a89b-7182dd0df68e" providerId="ADAL" clId="{36EB911C-DF9F-409D-B5DF-7D92D4802149}" dt="2023-09-19T09:30:30.359" v="6792" actId="21"/>
          <ac:picMkLst>
            <pc:docMk/>
            <pc:sldMk cId="2546557358" sldId="320"/>
            <ac:picMk id="8" creationId="{E44DCE9B-B749-F2E7-8DC9-ADB7D2E149C7}"/>
          </ac:picMkLst>
        </pc:picChg>
        <pc:picChg chg="add del mod">
          <ac:chgData name="Rick van 't Spijker" userId="05a3d4c8-0c7e-4bd4-a89b-7182dd0df68e" providerId="ADAL" clId="{36EB911C-DF9F-409D-B5DF-7D92D4802149}" dt="2023-09-19T09:31:45.370" v="6810" actId="478"/>
          <ac:picMkLst>
            <pc:docMk/>
            <pc:sldMk cId="2546557358" sldId="320"/>
            <ac:picMk id="9" creationId="{40BBCC0D-18CD-77D6-FB92-E03FEB254495}"/>
          </ac:picMkLst>
        </pc:picChg>
        <pc:picChg chg="add del mod">
          <ac:chgData name="Rick van 't Spijker" userId="05a3d4c8-0c7e-4bd4-a89b-7182dd0df68e" providerId="ADAL" clId="{36EB911C-DF9F-409D-B5DF-7D92D4802149}" dt="2023-09-19T09:31:15.816" v="6805" actId="478"/>
          <ac:picMkLst>
            <pc:docMk/>
            <pc:sldMk cId="2546557358" sldId="320"/>
            <ac:picMk id="10" creationId="{44FEB62A-2CC6-7CC7-B85B-FB8AE650CC39}"/>
          </ac:picMkLst>
        </pc:picChg>
        <pc:picChg chg="add del mod">
          <ac:chgData name="Rick van 't Spijker" userId="05a3d4c8-0c7e-4bd4-a89b-7182dd0df68e" providerId="ADAL" clId="{36EB911C-DF9F-409D-B5DF-7D92D4802149}" dt="2023-09-19T09:29:53.226" v="6781" actId="21"/>
          <ac:picMkLst>
            <pc:docMk/>
            <pc:sldMk cId="2546557358" sldId="320"/>
            <ac:picMk id="11" creationId="{E37A1552-EFC6-1B73-EA42-2C19C42A8768}"/>
          </ac:picMkLst>
        </pc:picChg>
        <pc:picChg chg="add del mod">
          <ac:chgData name="Rick van 't Spijker" userId="05a3d4c8-0c7e-4bd4-a89b-7182dd0df68e" providerId="ADAL" clId="{36EB911C-DF9F-409D-B5DF-7D92D4802149}" dt="2023-09-19T09:21:51.018" v="6190" actId="21"/>
          <ac:picMkLst>
            <pc:docMk/>
            <pc:sldMk cId="2546557358" sldId="320"/>
            <ac:picMk id="12" creationId="{A0E84419-894A-00DF-B3C2-90FBD9B89BE3}"/>
          </ac:picMkLst>
        </pc:picChg>
      </pc:sldChg>
      <pc:sldChg chg="add del">
        <pc:chgData name="Rick van 't Spijker" userId="05a3d4c8-0c7e-4bd4-a89b-7182dd0df68e" providerId="ADAL" clId="{36EB911C-DF9F-409D-B5DF-7D92D4802149}" dt="2023-09-18T20:02:15.560" v="3822" actId="47"/>
        <pc:sldMkLst>
          <pc:docMk/>
          <pc:sldMk cId="1627895334" sldId="321"/>
        </pc:sldMkLst>
      </pc:sldChg>
      <pc:sldChg chg="addSp delSp modSp add mod modAnim modNotesTx">
        <pc:chgData name="Rick van 't Spijker" userId="05a3d4c8-0c7e-4bd4-a89b-7182dd0df68e" providerId="ADAL" clId="{36EB911C-DF9F-409D-B5DF-7D92D4802149}" dt="2023-09-19T09:36:12.436" v="6845" actId="14100"/>
        <pc:sldMkLst>
          <pc:docMk/>
          <pc:sldMk cId="2019009943" sldId="321"/>
        </pc:sldMkLst>
        <pc:spChg chg="del mod">
          <ac:chgData name="Rick van 't Spijker" userId="05a3d4c8-0c7e-4bd4-a89b-7182dd0df68e" providerId="ADAL" clId="{36EB911C-DF9F-409D-B5DF-7D92D4802149}" dt="2023-09-19T09:35:50.798" v="6842" actId="478"/>
          <ac:spMkLst>
            <pc:docMk/>
            <pc:sldMk cId="2019009943" sldId="321"/>
            <ac:spMk id="2" creationId="{81F6E2C8-5F7F-DB01-1913-07A57F8B3D57}"/>
          </ac:spMkLst>
        </pc:spChg>
        <pc:spChg chg="add del">
          <ac:chgData name="Rick van 't Spijker" userId="05a3d4c8-0c7e-4bd4-a89b-7182dd0df68e" providerId="ADAL" clId="{36EB911C-DF9F-409D-B5DF-7D92D4802149}" dt="2023-09-19T08:25:29.996" v="5783" actId="478"/>
          <ac:spMkLst>
            <pc:docMk/>
            <pc:sldMk cId="2019009943" sldId="321"/>
            <ac:spMk id="3" creationId="{7FA88F08-7B6F-7A7A-6ADA-2B438CC393B1}"/>
          </ac:spMkLst>
        </pc:spChg>
        <pc:spChg chg="del">
          <ac:chgData name="Rick van 't Spijker" userId="05a3d4c8-0c7e-4bd4-a89b-7182dd0df68e" providerId="ADAL" clId="{36EB911C-DF9F-409D-B5DF-7D92D4802149}" dt="2023-09-18T20:11:19.888" v="3869" actId="478"/>
          <ac:spMkLst>
            <pc:docMk/>
            <pc:sldMk cId="2019009943" sldId="321"/>
            <ac:spMk id="5" creationId="{71045BB8-2FFD-D7A8-70B6-088ED2AE7F5D}"/>
          </ac:spMkLst>
        </pc:spChg>
        <pc:spChg chg="add del">
          <ac:chgData name="Rick van 't Spijker" userId="05a3d4c8-0c7e-4bd4-a89b-7182dd0df68e" providerId="ADAL" clId="{36EB911C-DF9F-409D-B5DF-7D92D4802149}" dt="2023-09-19T08:25:41.459" v="5785" actId="478"/>
          <ac:spMkLst>
            <pc:docMk/>
            <pc:sldMk cId="2019009943" sldId="321"/>
            <ac:spMk id="5" creationId="{9830CBBA-52D4-DF43-00E1-28571CFBDD54}"/>
          </ac:spMkLst>
        </pc:spChg>
        <pc:spChg chg="add del">
          <ac:chgData name="Rick van 't Spijker" userId="05a3d4c8-0c7e-4bd4-a89b-7182dd0df68e" providerId="ADAL" clId="{36EB911C-DF9F-409D-B5DF-7D92D4802149}" dt="2023-09-19T08:26:12.836" v="5787" actId="478"/>
          <ac:spMkLst>
            <pc:docMk/>
            <pc:sldMk cId="2019009943" sldId="321"/>
            <ac:spMk id="6" creationId="{07793A67-B1E7-9154-0E1F-87B2CBF124C5}"/>
          </ac:spMkLst>
        </pc:spChg>
        <pc:spChg chg="add del">
          <ac:chgData name="Rick van 't Spijker" userId="05a3d4c8-0c7e-4bd4-a89b-7182dd0df68e" providerId="ADAL" clId="{36EB911C-DF9F-409D-B5DF-7D92D4802149}" dt="2023-09-18T20:11:16.897" v="3868" actId="478"/>
          <ac:spMkLst>
            <pc:docMk/>
            <pc:sldMk cId="2019009943" sldId="321"/>
            <ac:spMk id="6" creationId="{619EC89D-7341-CB5F-802E-25E75B82C462}"/>
          </ac:spMkLst>
        </pc:spChg>
        <pc:spChg chg="add del mod">
          <ac:chgData name="Rick van 't Spijker" userId="05a3d4c8-0c7e-4bd4-a89b-7182dd0df68e" providerId="ADAL" clId="{36EB911C-DF9F-409D-B5DF-7D92D4802149}" dt="2023-09-19T09:35:53.036" v="6843" actId="478"/>
          <ac:spMkLst>
            <pc:docMk/>
            <pc:sldMk cId="2019009943" sldId="321"/>
            <ac:spMk id="8" creationId="{93861AF1-61B3-BA20-0C18-A9F100414421}"/>
          </ac:spMkLst>
        </pc:spChg>
        <pc:picChg chg="add mod">
          <ac:chgData name="Rick van 't Spijker" userId="05a3d4c8-0c7e-4bd4-a89b-7182dd0df68e" providerId="ADAL" clId="{36EB911C-DF9F-409D-B5DF-7D92D4802149}" dt="2023-09-19T09:36:12.436" v="6845" actId="14100"/>
          <ac:picMkLst>
            <pc:docMk/>
            <pc:sldMk cId="2019009943" sldId="321"/>
            <ac:picMk id="4" creationId="{39437344-8887-7784-9E6C-5AAFA9E53AC6}"/>
          </ac:picMkLst>
        </pc:picChg>
        <pc:picChg chg="add del mod ord">
          <ac:chgData name="Rick van 't Spijker" userId="05a3d4c8-0c7e-4bd4-a89b-7182dd0df68e" providerId="ADAL" clId="{36EB911C-DF9F-409D-B5DF-7D92D4802149}" dt="2023-09-18T20:07:44.067" v="3830" actId="22"/>
          <ac:picMkLst>
            <pc:docMk/>
            <pc:sldMk cId="2019009943" sldId="321"/>
            <ac:picMk id="8" creationId="{F20D05A3-3CC5-3F85-124D-6F798A96CE44}"/>
          </ac:picMkLst>
        </pc:picChg>
        <pc:picChg chg="add mod">
          <ac:chgData name="Rick van 't Spijker" userId="05a3d4c8-0c7e-4bd4-a89b-7182dd0df68e" providerId="ADAL" clId="{36EB911C-DF9F-409D-B5DF-7D92D4802149}" dt="2023-09-19T09:36:12.436" v="6845" actId="14100"/>
          <ac:picMkLst>
            <pc:docMk/>
            <pc:sldMk cId="2019009943" sldId="321"/>
            <ac:picMk id="10" creationId="{6E2FE4F2-7964-AFEA-E25F-9035FDECEE0C}"/>
          </ac:picMkLst>
        </pc:picChg>
        <pc:picChg chg="add mod">
          <ac:chgData name="Rick van 't Spijker" userId="05a3d4c8-0c7e-4bd4-a89b-7182dd0df68e" providerId="ADAL" clId="{36EB911C-DF9F-409D-B5DF-7D92D4802149}" dt="2023-09-19T09:36:12.436" v="6845" actId="14100"/>
          <ac:picMkLst>
            <pc:docMk/>
            <pc:sldMk cId="2019009943" sldId="321"/>
            <ac:picMk id="12" creationId="{3F34E4DC-AF57-4829-2243-E7295BFAB32A}"/>
          </ac:picMkLst>
        </pc:picChg>
        <pc:picChg chg="add mod">
          <ac:chgData name="Rick van 't Spijker" userId="05a3d4c8-0c7e-4bd4-a89b-7182dd0df68e" providerId="ADAL" clId="{36EB911C-DF9F-409D-B5DF-7D92D4802149}" dt="2023-09-19T09:36:12.436" v="6845" actId="14100"/>
          <ac:picMkLst>
            <pc:docMk/>
            <pc:sldMk cId="2019009943" sldId="321"/>
            <ac:picMk id="14" creationId="{4C965B80-5A0C-3681-4B1A-8B6E8F1B5273}"/>
          </ac:picMkLst>
        </pc:picChg>
        <pc:picChg chg="add mod">
          <ac:chgData name="Rick van 't Spijker" userId="05a3d4c8-0c7e-4bd4-a89b-7182dd0df68e" providerId="ADAL" clId="{36EB911C-DF9F-409D-B5DF-7D92D4802149}" dt="2023-09-19T09:36:12.436" v="6845" actId="14100"/>
          <ac:picMkLst>
            <pc:docMk/>
            <pc:sldMk cId="2019009943" sldId="321"/>
            <ac:picMk id="16" creationId="{9A7F4C93-9751-6FF6-F116-E65B3BF14FE5}"/>
          </ac:picMkLst>
        </pc:picChg>
        <pc:picChg chg="add mod">
          <ac:chgData name="Rick van 't Spijker" userId="05a3d4c8-0c7e-4bd4-a89b-7182dd0df68e" providerId="ADAL" clId="{36EB911C-DF9F-409D-B5DF-7D92D4802149}" dt="2023-09-19T09:36:12.436" v="6845" actId="14100"/>
          <ac:picMkLst>
            <pc:docMk/>
            <pc:sldMk cId="2019009943" sldId="321"/>
            <ac:picMk id="18" creationId="{5F890F7A-EA8E-2F63-26DB-752F40E4EB71}"/>
          </ac:picMkLst>
        </pc:picChg>
        <pc:picChg chg="add mod">
          <ac:chgData name="Rick van 't Spijker" userId="05a3d4c8-0c7e-4bd4-a89b-7182dd0df68e" providerId="ADAL" clId="{36EB911C-DF9F-409D-B5DF-7D92D4802149}" dt="2023-09-19T09:36:12.436" v="6845" actId="14100"/>
          <ac:picMkLst>
            <pc:docMk/>
            <pc:sldMk cId="2019009943" sldId="321"/>
            <ac:picMk id="20" creationId="{502B779B-0073-BF33-9AD2-95679E31ED10}"/>
          </ac:picMkLst>
        </pc:picChg>
        <pc:picChg chg="add mod">
          <ac:chgData name="Rick van 't Spijker" userId="05a3d4c8-0c7e-4bd4-a89b-7182dd0df68e" providerId="ADAL" clId="{36EB911C-DF9F-409D-B5DF-7D92D4802149}" dt="2023-09-19T09:36:12.436" v="6845" actId="14100"/>
          <ac:picMkLst>
            <pc:docMk/>
            <pc:sldMk cId="2019009943" sldId="321"/>
            <ac:picMk id="22" creationId="{4EE881F4-5BE2-E5B8-9F27-C9AB2ABDFF4F}"/>
          </ac:picMkLst>
        </pc:picChg>
        <pc:picChg chg="add mod">
          <ac:chgData name="Rick van 't Spijker" userId="05a3d4c8-0c7e-4bd4-a89b-7182dd0df68e" providerId="ADAL" clId="{36EB911C-DF9F-409D-B5DF-7D92D4802149}" dt="2023-09-19T09:36:12.436" v="6845" actId="14100"/>
          <ac:picMkLst>
            <pc:docMk/>
            <pc:sldMk cId="2019009943" sldId="321"/>
            <ac:picMk id="24" creationId="{9CCC56B4-252E-1188-E4A7-D9898634B7AE}"/>
          </ac:picMkLst>
        </pc:picChg>
        <pc:picChg chg="add del mod">
          <ac:chgData name="Rick van 't Spijker" userId="05a3d4c8-0c7e-4bd4-a89b-7182dd0df68e" providerId="ADAL" clId="{36EB911C-DF9F-409D-B5DF-7D92D4802149}" dt="2023-09-19T08:26:47.303" v="5789" actId="478"/>
          <ac:picMkLst>
            <pc:docMk/>
            <pc:sldMk cId="2019009943" sldId="321"/>
            <ac:picMk id="25" creationId="{3A44AA85-F51E-C1F5-F269-D7A75B9D3C54}"/>
          </ac:picMkLst>
        </pc:picChg>
        <pc:picChg chg="add del mod">
          <ac:chgData name="Rick van 't Spijker" userId="05a3d4c8-0c7e-4bd4-a89b-7182dd0df68e" providerId="ADAL" clId="{36EB911C-DF9F-409D-B5DF-7D92D4802149}" dt="2023-09-19T08:22:38.277" v="5775" actId="478"/>
          <ac:picMkLst>
            <pc:docMk/>
            <pc:sldMk cId="2019009943" sldId="321"/>
            <ac:picMk id="26" creationId="{4E8749A1-BD7E-6E3E-0357-549DD6D7C9F5}"/>
          </ac:picMkLst>
        </pc:picChg>
        <pc:picChg chg="add del mod">
          <ac:chgData name="Rick van 't Spijker" userId="05a3d4c8-0c7e-4bd4-a89b-7182dd0df68e" providerId="ADAL" clId="{36EB911C-DF9F-409D-B5DF-7D92D4802149}" dt="2023-09-19T08:23:35.790" v="5780" actId="478"/>
          <ac:picMkLst>
            <pc:docMk/>
            <pc:sldMk cId="2019009943" sldId="321"/>
            <ac:picMk id="27" creationId="{7B01B3FB-0814-CAC5-F764-2BF478F0B783}"/>
          </ac:picMkLst>
        </pc:picChg>
        <pc:picChg chg="add mod">
          <ac:chgData name="Rick van 't Spijker" userId="05a3d4c8-0c7e-4bd4-a89b-7182dd0df68e" providerId="ADAL" clId="{36EB911C-DF9F-409D-B5DF-7D92D4802149}" dt="2023-09-19T08:22:40.652" v="5776" actId="1076"/>
          <ac:picMkLst>
            <pc:docMk/>
            <pc:sldMk cId="2019009943" sldId="321"/>
            <ac:picMk id="2050" creationId="{C00B8F02-CC7A-A881-544A-0973481821AB}"/>
          </ac:picMkLst>
        </pc:picChg>
        <pc:picChg chg="add mod">
          <ac:chgData name="Rick van 't Spijker" userId="05a3d4c8-0c7e-4bd4-a89b-7182dd0df68e" providerId="ADAL" clId="{36EB911C-DF9F-409D-B5DF-7D92D4802149}" dt="2023-09-19T08:26:56.787" v="5791" actId="1076"/>
          <ac:picMkLst>
            <pc:docMk/>
            <pc:sldMk cId="2019009943" sldId="321"/>
            <ac:picMk id="2052" creationId="{636AB603-0B81-2086-A678-F4FFD78F2376}"/>
          </ac:picMkLst>
        </pc:picChg>
        <pc:picChg chg="add mod">
          <ac:chgData name="Rick van 't Spijker" userId="05a3d4c8-0c7e-4bd4-a89b-7182dd0df68e" providerId="ADAL" clId="{36EB911C-DF9F-409D-B5DF-7D92D4802149}" dt="2023-09-19T08:27:00.963" v="5792" actId="1076"/>
          <ac:picMkLst>
            <pc:docMk/>
            <pc:sldMk cId="2019009943" sldId="321"/>
            <ac:picMk id="2060" creationId="{1BD890AD-3A0C-E8FD-FFCC-7B8AA60ED9D8}"/>
          </ac:picMkLst>
        </pc:picChg>
      </pc:sldChg>
      <pc:sldChg chg="addSp delSp modSp add mod modAnim">
        <pc:chgData name="Rick van 't Spijker" userId="05a3d4c8-0c7e-4bd4-a89b-7182dd0df68e" providerId="ADAL" clId="{36EB911C-DF9F-409D-B5DF-7D92D4802149}" dt="2023-09-19T09:41:33.596" v="6908"/>
        <pc:sldMkLst>
          <pc:docMk/>
          <pc:sldMk cId="2283859729" sldId="322"/>
        </pc:sldMkLst>
        <pc:spChg chg="del mod">
          <ac:chgData name="Rick van 't Spijker" userId="05a3d4c8-0c7e-4bd4-a89b-7182dd0df68e" providerId="ADAL" clId="{36EB911C-DF9F-409D-B5DF-7D92D4802149}" dt="2023-09-19T09:37:03.645" v="6846" actId="478"/>
          <ac:spMkLst>
            <pc:docMk/>
            <pc:sldMk cId="2283859729" sldId="322"/>
            <ac:spMk id="2" creationId="{81F6E2C8-5F7F-DB01-1913-07A57F8B3D57}"/>
          </ac:spMkLst>
        </pc:spChg>
        <pc:spChg chg="add del">
          <ac:chgData name="Rick van 't Spijker" userId="05a3d4c8-0c7e-4bd4-a89b-7182dd0df68e" providerId="ADAL" clId="{36EB911C-DF9F-409D-B5DF-7D92D4802149}" dt="2023-09-19T08:43:52.396" v="6032" actId="478"/>
          <ac:spMkLst>
            <pc:docMk/>
            <pc:sldMk cId="2283859729" sldId="322"/>
            <ac:spMk id="3" creationId="{8CBE40DA-903A-0A44-9F6B-8597EDB93D2D}"/>
          </ac:spMkLst>
        </pc:spChg>
        <pc:spChg chg="add del">
          <ac:chgData name="Rick van 't Spijker" userId="05a3d4c8-0c7e-4bd4-a89b-7182dd0df68e" providerId="ADAL" clId="{36EB911C-DF9F-409D-B5DF-7D92D4802149}" dt="2023-09-19T08:47:09.054" v="6048" actId="478"/>
          <ac:spMkLst>
            <pc:docMk/>
            <pc:sldMk cId="2283859729" sldId="322"/>
            <ac:spMk id="4" creationId="{32588174-9917-A8FE-445E-CC4DA17E3EDD}"/>
          </ac:spMkLst>
        </pc:spChg>
        <pc:spChg chg="del">
          <ac:chgData name="Rick van 't Spijker" userId="05a3d4c8-0c7e-4bd4-a89b-7182dd0df68e" providerId="ADAL" clId="{36EB911C-DF9F-409D-B5DF-7D92D4802149}" dt="2023-09-19T08:45:33.316" v="6042" actId="478"/>
          <ac:spMkLst>
            <pc:docMk/>
            <pc:sldMk cId="2283859729" sldId="322"/>
            <ac:spMk id="5" creationId="{71045BB8-2FFD-D7A8-70B6-088ED2AE7F5D}"/>
          </ac:spMkLst>
        </pc:spChg>
        <pc:spChg chg="del">
          <ac:chgData name="Rick van 't Spijker" userId="05a3d4c8-0c7e-4bd4-a89b-7182dd0df68e" providerId="ADAL" clId="{36EB911C-DF9F-409D-B5DF-7D92D4802149}" dt="2023-09-19T08:45:32.150" v="6041" actId="478"/>
          <ac:spMkLst>
            <pc:docMk/>
            <pc:sldMk cId="2283859729" sldId="322"/>
            <ac:spMk id="6" creationId="{619EC89D-7341-CB5F-802E-25E75B82C462}"/>
          </ac:spMkLst>
        </pc:spChg>
        <pc:spChg chg="add del">
          <ac:chgData name="Rick van 't Spijker" userId="05a3d4c8-0c7e-4bd4-a89b-7182dd0df68e" providerId="ADAL" clId="{36EB911C-DF9F-409D-B5DF-7D92D4802149}" dt="2023-09-19T09:01:51.812" v="6068" actId="478"/>
          <ac:spMkLst>
            <pc:docMk/>
            <pc:sldMk cId="2283859729" sldId="322"/>
            <ac:spMk id="7" creationId="{A84CFC8E-C36D-40C5-61C3-7FE2E3065A93}"/>
          </ac:spMkLst>
        </pc:spChg>
        <pc:spChg chg="add del mod">
          <ac:chgData name="Rick van 't Spijker" userId="05a3d4c8-0c7e-4bd4-a89b-7182dd0df68e" providerId="ADAL" clId="{36EB911C-DF9F-409D-B5DF-7D92D4802149}" dt="2023-09-19T09:37:05.405" v="6847" actId="478"/>
          <ac:spMkLst>
            <pc:docMk/>
            <pc:sldMk cId="2283859729" sldId="322"/>
            <ac:spMk id="11" creationId="{4A569863-9BF9-DF4C-DEA4-A5B2B11544A4}"/>
          </ac:spMkLst>
        </pc:spChg>
        <pc:spChg chg="add del mod">
          <ac:chgData name="Rick van 't Spijker" userId="05a3d4c8-0c7e-4bd4-a89b-7182dd0df68e" providerId="ADAL" clId="{36EB911C-DF9F-409D-B5DF-7D92D4802149}" dt="2023-09-19T09:38:11.380" v="6866" actId="478"/>
          <ac:spMkLst>
            <pc:docMk/>
            <pc:sldMk cId="2283859729" sldId="322"/>
            <ac:spMk id="12" creationId="{F828C102-E316-FC43-DCE3-052419DCD795}"/>
          </ac:spMkLst>
        </pc:spChg>
        <pc:spChg chg="add mod">
          <ac:chgData name="Rick van 't Spijker" userId="05a3d4c8-0c7e-4bd4-a89b-7182dd0df68e" providerId="ADAL" clId="{36EB911C-DF9F-409D-B5DF-7D92D4802149}" dt="2023-09-19T09:39:54.771" v="6886" actId="403"/>
          <ac:spMkLst>
            <pc:docMk/>
            <pc:sldMk cId="2283859729" sldId="322"/>
            <ac:spMk id="13" creationId="{59E8ABEB-F702-E253-AA4D-BB5519198711}"/>
          </ac:spMkLst>
        </pc:spChg>
        <pc:picChg chg="add mod">
          <ac:chgData name="Rick van 't Spijker" userId="05a3d4c8-0c7e-4bd4-a89b-7182dd0df68e" providerId="ADAL" clId="{36EB911C-DF9F-409D-B5DF-7D92D4802149}" dt="2023-09-19T09:40:29.499" v="6897" actId="1076"/>
          <ac:picMkLst>
            <pc:docMk/>
            <pc:sldMk cId="2283859729" sldId="322"/>
            <ac:picMk id="9" creationId="{147631B7-6171-5A83-167E-EC4B8F205D56}"/>
          </ac:picMkLst>
        </pc:picChg>
        <pc:picChg chg="add del mod">
          <ac:chgData name="Rick van 't Spijker" userId="05a3d4c8-0c7e-4bd4-a89b-7182dd0df68e" providerId="ADAL" clId="{36EB911C-DF9F-409D-B5DF-7D92D4802149}" dt="2023-09-19T08:40:24.029" v="6021" actId="478"/>
          <ac:picMkLst>
            <pc:docMk/>
            <pc:sldMk cId="2283859729" sldId="322"/>
            <ac:picMk id="3074" creationId="{E6569801-67DE-29B8-2EAB-BF9914ECB2BD}"/>
          </ac:picMkLst>
        </pc:picChg>
        <pc:picChg chg="add mod">
          <ac:chgData name="Rick van 't Spijker" userId="05a3d4c8-0c7e-4bd4-a89b-7182dd0df68e" providerId="ADAL" clId="{36EB911C-DF9F-409D-B5DF-7D92D4802149}" dt="2023-09-19T09:40:34.387" v="6900" actId="1076"/>
          <ac:picMkLst>
            <pc:docMk/>
            <pc:sldMk cId="2283859729" sldId="322"/>
            <ac:picMk id="3076" creationId="{63B1B66A-DD60-D8A8-F9BC-A5EAAAEEB3D5}"/>
          </ac:picMkLst>
        </pc:picChg>
        <pc:picChg chg="add mod">
          <ac:chgData name="Rick van 't Spijker" userId="05a3d4c8-0c7e-4bd4-a89b-7182dd0df68e" providerId="ADAL" clId="{36EB911C-DF9F-409D-B5DF-7D92D4802149}" dt="2023-09-19T09:40:35.843" v="6901" actId="1076"/>
          <ac:picMkLst>
            <pc:docMk/>
            <pc:sldMk cId="2283859729" sldId="322"/>
            <ac:picMk id="3078" creationId="{100E6910-A67D-3645-DF94-A7B39731401A}"/>
          </ac:picMkLst>
        </pc:picChg>
        <pc:picChg chg="add mod">
          <ac:chgData name="Rick van 't Spijker" userId="05a3d4c8-0c7e-4bd4-a89b-7182dd0df68e" providerId="ADAL" clId="{36EB911C-DF9F-409D-B5DF-7D92D4802149}" dt="2023-09-19T09:40:37.778" v="6902" actId="1076"/>
          <ac:picMkLst>
            <pc:docMk/>
            <pc:sldMk cId="2283859729" sldId="322"/>
            <ac:picMk id="3082" creationId="{9C3D5AEB-BD95-5168-B47F-E068A720760C}"/>
          </ac:picMkLst>
        </pc:picChg>
        <pc:picChg chg="add mod">
          <ac:chgData name="Rick van 't Spijker" userId="05a3d4c8-0c7e-4bd4-a89b-7182dd0df68e" providerId="ADAL" clId="{36EB911C-DF9F-409D-B5DF-7D92D4802149}" dt="2023-09-19T09:40:27.115" v="6896" actId="1076"/>
          <ac:picMkLst>
            <pc:docMk/>
            <pc:sldMk cId="2283859729" sldId="322"/>
            <ac:picMk id="3084" creationId="{CB99A7DD-EEA8-4026-C4F8-A9BCFF6C45CE}"/>
          </ac:picMkLst>
        </pc:picChg>
        <pc:picChg chg="add mod">
          <ac:chgData name="Rick van 't Spijker" userId="05a3d4c8-0c7e-4bd4-a89b-7182dd0df68e" providerId="ADAL" clId="{36EB911C-DF9F-409D-B5DF-7D92D4802149}" dt="2023-09-19T09:40:31.962" v="6899" actId="1076"/>
          <ac:picMkLst>
            <pc:docMk/>
            <pc:sldMk cId="2283859729" sldId="322"/>
            <ac:picMk id="3088" creationId="{C3955F3C-740F-5478-2F37-9C44D59E5E42}"/>
          </ac:picMkLst>
        </pc:picChg>
      </pc:sldChg>
      <pc:sldChg chg="addSp delSp modSp add mod modClrScheme delAnim modAnim chgLayout modNotesTx">
        <pc:chgData name="Rick van 't Spijker" userId="05a3d4c8-0c7e-4bd4-a89b-7182dd0df68e" providerId="ADAL" clId="{36EB911C-DF9F-409D-B5DF-7D92D4802149}" dt="2023-09-19T09:45:45.461" v="6937"/>
        <pc:sldMkLst>
          <pc:docMk/>
          <pc:sldMk cId="1609573155" sldId="323"/>
        </pc:sldMkLst>
        <pc:spChg chg="add del mod ord">
          <ac:chgData name="Rick van 't Spijker" userId="05a3d4c8-0c7e-4bd4-a89b-7182dd0df68e" providerId="ADAL" clId="{36EB911C-DF9F-409D-B5DF-7D92D4802149}" dt="2023-09-19T08:04:54.842" v="5729" actId="478"/>
          <ac:spMkLst>
            <pc:docMk/>
            <pc:sldMk cId="1609573155" sldId="323"/>
            <ac:spMk id="3" creationId="{3E27E063-3687-75D4-E0D7-AD017C93B6E3}"/>
          </ac:spMkLst>
        </pc:spChg>
        <pc:spChg chg="mod ord">
          <ac:chgData name="Rick van 't Spijker" userId="05a3d4c8-0c7e-4bd4-a89b-7182dd0df68e" providerId="ADAL" clId="{36EB911C-DF9F-409D-B5DF-7D92D4802149}" dt="2023-09-19T08:16:09.186" v="5769" actId="1076"/>
          <ac:spMkLst>
            <pc:docMk/>
            <pc:sldMk cId="1609573155" sldId="323"/>
            <ac:spMk id="4" creationId="{24FF7E2F-9C8E-D698-8699-01BF4B589C08}"/>
          </ac:spMkLst>
        </pc:spChg>
        <pc:spChg chg="add mod ord">
          <ac:chgData name="Rick van 't Spijker" userId="05a3d4c8-0c7e-4bd4-a89b-7182dd0df68e" providerId="ADAL" clId="{36EB911C-DF9F-409D-B5DF-7D92D4802149}" dt="2023-09-19T09:45:18.491" v="6935" actId="1076"/>
          <ac:spMkLst>
            <pc:docMk/>
            <pc:sldMk cId="1609573155" sldId="323"/>
            <ac:spMk id="6" creationId="{C77A14AE-F1D4-C12C-66E8-7A615B1D43A0}"/>
          </ac:spMkLst>
        </pc:spChg>
        <pc:spChg chg="add del mod">
          <ac:chgData name="Rick van 't Spijker" userId="05a3d4c8-0c7e-4bd4-a89b-7182dd0df68e" providerId="ADAL" clId="{36EB911C-DF9F-409D-B5DF-7D92D4802149}" dt="2023-09-19T09:43:31.214" v="6913"/>
          <ac:spMkLst>
            <pc:docMk/>
            <pc:sldMk cId="1609573155" sldId="323"/>
            <ac:spMk id="7" creationId="{ADFB8DD3-4374-4E84-DB62-00BB9F1F886A}"/>
          </ac:spMkLst>
        </pc:spChg>
        <pc:spChg chg="add del mod">
          <ac:chgData name="Rick van 't Spijker" userId="05a3d4c8-0c7e-4bd4-a89b-7182dd0df68e" providerId="ADAL" clId="{36EB911C-DF9F-409D-B5DF-7D92D4802149}" dt="2023-09-19T09:43:31.214" v="6913"/>
          <ac:spMkLst>
            <pc:docMk/>
            <pc:sldMk cId="1609573155" sldId="323"/>
            <ac:spMk id="8" creationId="{64D88D03-4ECB-79C2-FCB5-F68DE7F29C14}"/>
          </ac:spMkLst>
        </pc:spChg>
        <pc:spChg chg="add del mod">
          <ac:chgData name="Rick van 't Spijker" userId="05a3d4c8-0c7e-4bd4-a89b-7182dd0df68e" providerId="ADAL" clId="{36EB911C-DF9F-409D-B5DF-7D92D4802149}" dt="2023-09-19T09:43:31.214" v="6913"/>
          <ac:spMkLst>
            <pc:docMk/>
            <pc:sldMk cId="1609573155" sldId="323"/>
            <ac:spMk id="9" creationId="{9941371E-E458-F6D4-B896-DD1EB16EA54D}"/>
          </ac:spMkLst>
        </pc:spChg>
        <pc:spChg chg="mod">
          <ac:chgData name="Rick van 't Spijker" userId="05a3d4c8-0c7e-4bd4-a89b-7182dd0df68e" providerId="ADAL" clId="{36EB911C-DF9F-409D-B5DF-7D92D4802149}" dt="2023-09-19T09:43:29.079" v="6912"/>
          <ac:spMkLst>
            <pc:docMk/>
            <pc:sldMk cId="1609573155" sldId="323"/>
            <ac:spMk id="11" creationId="{5988D28A-1E92-2688-0BC2-1E9250F304AB}"/>
          </ac:spMkLst>
        </pc:spChg>
        <pc:spChg chg="mod">
          <ac:chgData name="Rick van 't Spijker" userId="05a3d4c8-0c7e-4bd4-a89b-7182dd0df68e" providerId="ADAL" clId="{36EB911C-DF9F-409D-B5DF-7D92D4802149}" dt="2023-09-19T09:43:29.079" v="6912"/>
          <ac:spMkLst>
            <pc:docMk/>
            <pc:sldMk cId="1609573155" sldId="323"/>
            <ac:spMk id="13" creationId="{E89A06D9-2638-B499-7329-04100EB25F74}"/>
          </ac:spMkLst>
        </pc:spChg>
        <pc:spChg chg="mod">
          <ac:chgData name="Rick van 't Spijker" userId="05a3d4c8-0c7e-4bd4-a89b-7182dd0df68e" providerId="ADAL" clId="{36EB911C-DF9F-409D-B5DF-7D92D4802149}" dt="2023-09-19T09:43:29.079" v="6912"/>
          <ac:spMkLst>
            <pc:docMk/>
            <pc:sldMk cId="1609573155" sldId="323"/>
            <ac:spMk id="19" creationId="{1512319B-3F6B-49BB-DBE2-6394B6B3853E}"/>
          </ac:spMkLst>
        </pc:spChg>
        <pc:spChg chg="mod">
          <ac:chgData name="Rick van 't Spijker" userId="05a3d4c8-0c7e-4bd4-a89b-7182dd0df68e" providerId="ADAL" clId="{36EB911C-DF9F-409D-B5DF-7D92D4802149}" dt="2023-09-19T09:43:29.079" v="6912"/>
          <ac:spMkLst>
            <pc:docMk/>
            <pc:sldMk cId="1609573155" sldId="323"/>
            <ac:spMk id="25" creationId="{9FE58685-13AF-FBD6-CAD3-D3F021EA6FCE}"/>
          </ac:spMkLst>
        </pc:spChg>
        <pc:spChg chg="add del mod">
          <ac:chgData name="Rick van 't Spijker" userId="05a3d4c8-0c7e-4bd4-a89b-7182dd0df68e" providerId="ADAL" clId="{36EB911C-DF9F-409D-B5DF-7D92D4802149}" dt="2023-09-19T09:43:31.214" v="6913"/>
          <ac:spMkLst>
            <pc:docMk/>
            <pc:sldMk cId="1609573155" sldId="323"/>
            <ac:spMk id="30" creationId="{8CE7C786-7FC6-F35B-B65B-B00753639CCD}"/>
          </ac:spMkLst>
        </pc:spChg>
        <pc:spChg chg="add del mod">
          <ac:chgData name="Rick van 't Spijker" userId="05a3d4c8-0c7e-4bd4-a89b-7182dd0df68e" providerId="ADAL" clId="{36EB911C-DF9F-409D-B5DF-7D92D4802149}" dt="2023-09-19T09:43:31.214" v="6913"/>
          <ac:spMkLst>
            <pc:docMk/>
            <pc:sldMk cId="1609573155" sldId="323"/>
            <ac:spMk id="31" creationId="{2FC9E1ED-3950-F353-9A22-AE5D6717F324}"/>
          </ac:spMkLst>
        </pc:spChg>
        <pc:spChg chg="add del mod">
          <ac:chgData name="Rick van 't Spijker" userId="05a3d4c8-0c7e-4bd4-a89b-7182dd0df68e" providerId="ADAL" clId="{36EB911C-DF9F-409D-B5DF-7D92D4802149}" dt="2023-09-19T09:43:31.214" v="6913"/>
          <ac:spMkLst>
            <pc:docMk/>
            <pc:sldMk cId="1609573155" sldId="323"/>
            <ac:spMk id="32" creationId="{A900F9F4-F070-7C41-AAD1-CED133872B67}"/>
          </ac:spMkLst>
        </pc:spChg>
        <pc:spChg chg="add del mod">
          <ac:chgData name="Rick van 't Spijker" userId="05a3d4c8-0c7e-4bd4-a89b-7182dd0df68e" providerId="ADAL" clId="{36EB911C-DF9F-409D-B5DF-7D92D4802149}" dt="2023-09-19T09:43:31.214" v="6913"/>
          <ac:spMkLst>
            <pc:docMk/>
            <pc:sldMk cId="1609573155" sldId="323"/>
            <ac:spMk id="33" creationId="{F9769D73-86C5-0B60-39F6-E992BA02C82C}"/>
          </ac:spMkLst>
        </pc:spChg>
        <pc:spChg chg="mod">
          <ac:chgData name="Rick van 't Spijker" userId="05a3d4c8-0c7e-4bd4-a89b-7182dd0df68e" providerId="ADAL" clId="{36EB911C-DF9F-409D-B5DF-7D92D4802149}" dt="2023-09-19T09:43:29.079" v="6912"/>
          <ac:spMkLst>
            <pc:docMk/>
            <pc:sldMk cId="1609573155" sldId="323"/>
            <ac:spMk id="43" creationId="{BDE79B28-B292-CB68-B555-4ABBAEA1509A}"/>
          </ac:spMkLst>
        </pc:spChg>
        <pc:spChg chg="add del mod">
          <ac:chgData name="Rick van 't Spijker" userId="05a3d4c8-0c7e-4bd4-a89b-7182dd0df68e" providerId="ADAL" clId="{36EB911C-DF9F-409D-B5DF-7D92D4802149}" dt="2023-09-19T09:43:31.214" v="6913"/>
          <ac:spMkLst>
            <pc:docMk/>
            <pc:sldMk cId="1609573155" sldId="323"/>
            <ac:spMk id="49" creationId="{74EFA57B-C9A2-EB4D-3104-0FAD82ACE419}"/>
          </ac:spMkLst>
        </pc:spChg>
        <pc:spChg chg="mod">
          <ac:chgData name="Rick van 't Spijker" userId="05a3d4c8-0c7e-4bd4-a89b-7182dd0df68e" providerId="ADAL" clId="{36EB911C-DF9F-409D-B5DF-7D92D4802149}" dt="2023-09-19T09:43:29.079" v="6912"/>
          <ac:spMkLst>
            <pc:docMk/>
            <pc:sldMk cId="1609573155" sldId="323"/>
            <ac:spMk id="52" creationId="{01A643AE-420E-9F3E-5F6A-D2B85CBF9D85}"/>
          </ac:spMkLst>
        </pc:spChg>
        <pc:spChg chg="add del mod">
          <ac:chgData name="Rick van 't Spijker" userId="05a3d4c8-0c7e-4bd4-a89b-7182dd0df68e" providerId="ADAL" clId="{36EB911C-DF9F-409D-B5DF-7D92D4802149}" dt="2023-09-19T09:43:31.214" v="6913"/>
          <ac:spMkLst>
            <pc:docMk/>
            <pc:sldMk cId="1609573155" sldId="323"/>
            <ac:spMk id="58" creationId="{2B141E5D-E92F-FEB0-0BE8-434162DEED0D}"/>
          </ac:spMkLst>
        </pc:spChg>
        <pc:spChg chg="mod">
          <ac:chgData name="Rick van 't Spijker" userId="05a3d4c8-0c7e-4bd4-a89b-7182dd0df68e" providerId="ADAL" clId="{36EB911C-DF9F-409D-B5DF-7D92D4802149}" dt="2023-09-19T09:43:29.079" v="6912"/>
          <ac:spMkLst>
            <pc:docMk/>
            <pc:sldMk cId="1609573155" sldId="323"/>
            <ac:spMk id="61" creationId="{5CAA6643-94FB-7766-0914-00DC0B0CBB0B}"/>
          </ac:spMkLst>
        </pc:spChg>
        <pc:spChg chg="add del mod">
          <ac:chgData name="Rick van 't Spijker" userId="05a3d4c8-0c7e-4bd4-a89b-7182dd0df68e" providerId="ADAL" clId="{36EB911C-DF9F-409D-B5DF-7D92D4802149}" dt="2023-09-19T09:43:31.214" v="6913"/>
          <ac:spMkLst>
            <pc:docMk/>
            <pc:sldMk cId="1609573155" sldId="323"/>
            <ac:spMk id="1028" creationId="{5E183F9D-4C35-6B34-98FC-18F48F0847CD}"/>
          </ac:spMkLst>
        </pc:spChg>
        <pc:spChg chg="mod">
          <ac:chgData name="Rick van 't Spijker" userId="05a3d4c8-0c7e-4bd4-a89b-7182dd0df68e" providerId="ADAL" clId="{36EB911C-DF9F-409D-B5DF-7D92D4802149}" dt="2023-09-19T09:43:29.079" v="6912"/>
          <ac:spMkLst>
            <pc:docMk/>
            <pc:sldMk cId="1609573155" sldId="323"/>
            <ac:spMk id="1032" creationId="{C9997291-6377-8751-E0A5-A1096E242055}"/>
          </ac:spMkLst>
        </pc:spChg>
        <pc:spChg chg="mod">
          <ac:chgData name="Rick van 't Spijker" userId="05a3d4c8-0c7e-4bd4-a89b-7182dd0df68e" providerId="ADAL" clId="{36EB911C-DF9F-409D-B5DF-7D92D4802149}" dt="2023-09-19T09:43:29.079" v="6912"/>
          <ac:spMkLst>
            <pc:docMk/>
            <pc:sldMk cId="1609573155" sldId="323"/>
            <ac:spMk id="1037" creationId="{68CC57BB-800E-58EF-CC8A-4504350ECBB8}"/>
          </ac:spMkLst>
        </pc:spChg>
        <pc:spChg chg="add del mod">
          <ac:chgData name="Rick van 't Spijker" userId="05a3d4c8-0c7e-4bd4-a89b-7182dd0df68e" providerId="ADAL" clId="{36EB911C-DF9F-409D-B5DF-7D92D4802149}" dt="2023-09-19T09:43:31.214" v="6913"/>
          <ac:spMkLst>
            <pc:docMk/>
            <pc:sldMk cId="1609573155" sldId="323"/>
            <ac:spMk id="1040" creationId="{EA2326F1-0421-438D-0F4C-26C33888DA0D}"/>
          </ac:spMkLst>
        </pc:spChg>
        <pc:spChg chg="add del mod">
          <ac:chgData name="Rick van 't Spijker" userId="05a3d4c8-0c7e-4bd4-a89b-7182dd0df68e" providerId="ADAL" clId="{36EB911C-DF9F-409D-B5DF-7D92D4802149}" dt="2023-09-19T09:43:31.214" v="6913"/>
          <ac:spMkLst>
            <pc:docMk/>
            <pc:sldMk cId="1609573155" sldId="323"/>
            <ac:spMk id="1042" creationId="{245D23EE-A069-3294-1058-B20CEDF4382A}"/>
          </ac:spMkLst>
        </pc:spChg>
        <pc:spChg chg="add del mod">
          <ac:chgData name="Rick van 't Spijker" userId="05a3d4c8-0c7e-4bd4-a89b-7182dd0df68e" providerId="ADAL" clId="{36EB911C-DF9F-409D-B5DF-7D92D4802149}" dt="2023-09-19T09:43:31.214" v="6913"/>
          <ac:spMkLst>
            <pc:docMk/>
            <pc:sldMk cId="1609573155" sldId="323"/>
            <ac:spMk id="1044" creationId="{EFA17F5A-D526-4DC6-1818-EA0A3E0F04BA}"/>
          </ac:spMkLst>
        </pc:spChg>
        <pc:spChg chg="add del mod">
          <ac:chgData name="Rick van 't Spijker" userId="05a3d4c8-0c7e-4bd4-a89b-7182dd0df68e" providerId="ADAL" clId="{36EB911C-DF9F-409D-B5DF-7D92D4802149}" dt="2023-09-19T09:43:31.214" v="6913"/>
          <ac:spMkLst>
            <pc:docMk/>
            <pc:sldMk cId="1609573155" sldId="323"/>
            <ac:spMk id="1045" creationId="{35D016D5-E1B0-AC41-A618-71125386D9AC}"/>
          </ac:spMkLst>
        </pc:spChg>
        <pc:spChg chg="add del mod">
          <ac:chgData name="Rick van 't Spijker" userId="05a3d4c8-0c7e-4bd4-a89b-7182dd0df68e" providerId="ADAL" clId="{36EB911C-DF9F-409D-B5DF-7D92D4802149}" dt="2023-09-19T09:43:31.214" v="6913"/>
          <ac:spMkLst>
            <pc:docMk/>
            <pc:sldMk cId="1609573155" sldId="323"/>
            <ac:spMk id="1046" creationId="{9ECEAEBE-E981-D0FE-2019-175BABC497DE}"/>
          </ac:spMkLst>
        </pc:spChg>
        <pc:spChg chg="add del mod">
          <ac:chgData name="Rick van 't Spijker" userId="05a3d4c8-0c7e-4bd4-a89b-7182dd0df68e" providerId="ADAL" clId="{36EB911C-DF9F-409D-B5DF-7D92D4802149}" dt="2023-09-19T09:43:31.214" v="6913"/>
          <ac:spMkLst>
            <pc:docMk/>
            <pc:sldMk cId="1609573155" sldId="323"/>
            <ac:spMk id="1047" creationId="{FA43BB3C-6F5D-BE25-BDC1-625459F759BB}"/>
          </ac:spMkLst>
        </pc:spChg>
        <pc:spChg chg="add del mod">
          <ac:chgData name="Rick van 't Spijker" userId="05a3d4c8-0c7e-4bd4-a89b-7182dd0df68e" providerId="ADAL" clId="{36EB911C-DF9F-409D-B5DF-7D92D4802149}" dt="2023-09-19T09:43:31.214" v="6913"/>
          <ac:spMkLst>
            <pc:docMk/>
            <pc:sldMk cId="1609573155" sldId="323"/>
            <ac:spMk id="1048" creationId="{28DDBE26-D3CD-9786-3EE4-DFC1545D351B}"/>
          </ac:spMkLst>
        </pc:spChg>
        <pc:spChg chg="add del mod">
          <ac:chgData name="Rick van 't Spijker" userId="05a3d4c8-0c7e-4bd4-a89b-7182dd0df68e" providerId="ADAL" clId="{36EB911C-DF9F-409D-B5DF-7D92D4802149}" dt="2023-09-19T09:43:31.214" v="6913"/>
          <ac:spMkLst>
            <pc:docMk/>
            <pc:sldMk cId="1609573155" sldId="323"/>
            <ac:spMk id="1049" creationId="{75F8D0F1-5C86-1510-7D1B-31056D96574B}"/>
          </ac:spMkLst>
        </pc:spChg>
        <pc:spChg chg="add del mod">
          <ac:chgData name="Rick van 't Spijker" userId="05a3d4c8-0c7e-4bd4-a89b-7182dd0df68e" providerId="ADAL" clId="{36EB911C-DF9F-409D-B5DF-7D92D4802149}" dt="2023-09-19T09:43:31.214" v="6913"/>
          <ac:spMkLst>
            <pc:docMk/>
            <pc:sldMk cId="1609573155" sldId="323"/>
            <ac:spMk id="1050" creationId="{3A1B3752-75B4-A330-EDE6-02DF700C931A}"/>
          </ac:spMkLst>
        </pc:spChg>
        <pc:grpChg chg="add del mod">
          <ac:chgData name="Rick van 't Spijker" userId="05a3d4c8-0c7e-4bd4-a89b-7182dd0df68e" providerId="ADAL" clId="{36EB911C-DF9F-409D-B5DF-7D92D4802149}" dt="2023-09-19T09:43:31.214" v="6913"/>
          <ac:grpSpMkLst>
            <pc:docMk/>
            <pc:sldMk cId="1609573155" sldId="323"/>
            <ac:grpSpMk id="10" creationId="{33C538AD-87BA-51C4-34FC-ED59B8D93190}"/>
          </ac:grpSpMkLst>
        </pc:grpChg>
        <pc:grpChg chg="mod">
          <ac:chgData name="Rick van 't Spijker" userId="05a3d4c8-0c7e-4bd4-a89b-7182dd0df68e" providerId="ADAL" clId="{36EB911C-DF9F-409D-B5DF-7D92D4802149}" dt="2023-09-19T09:43:29.079" v="6912"/>
          <ac:grpSpMkLst>
            <pc:docMk/>
            <pc:sldMk cId="1609573155" sldId="323"/>
            <ac:grpSpMk id="12" creationId="{94CF6ABA-7B21-D5FF-2DE7-99A53B04186C}"/>
          </ac:grpSpMkLst>
        </pc:grpChg>
        <pc:grpChg chg="add del mod">
          <ac:chgData name="Rick van 't Spijker" userId="05a3d4c8-0c7e-4bd4-a89b-7182dd0df68e" providerId="ADAL" clId="{36EB911C-DF9F-409D-B5DF-7D92D4802149}" dt="2023-09-19T09:43:31.214" v="6913"/>
          <ac:grpSpMkLst>
            <pc:docMk/>
            <pc:sldMk cId="1609573155" sldId="323"/>
            <ac:grpSpMk id="18" creationId="{F2ABFE67-C8C7-DE8A-81CA-38830D8F7677}"/>
          </ac:grpSpMkLst>
        </pc:grpChg>
        <pc:grpChg chg="mod">
          <ac:chgData name="Rick van 't Spijker" userId="05a3d4c8-0c7e-4bd4-a89b-7182dd0df68e" providerId="ADAL" clId="{36EB911C-DF9F-409D-B5DF-7D92D4802149}" dt="2023-09-19T09:43:29.079" v="6912"/>
          <ac:grpSpMkLst>
            <pc:docMk/>
            <pc:sldMk cId="1609573155" sldId="323"/>
            <ac:grpSpMk id="20" creationId="{0D60B4ED-5D06-2774-F141-766127B02AA4}"/>
          </ac:grpSpMkLst>
        </pc:grpChg>
        <pc:grpChg chg="add del mod">
          <ac:chgData name="Rick van 't Spijker" userId="05a3d4c8-0c7e-4bd4-a89b-7182dd0df68e" providerId="ADAL" clId="{36EB911C-DF9F-409D-B5DF-7D92D4802149}" dt="2023-09-19T09:43:31.214" v="6913"/>
          <ac:grpSpMkLst>
            <pc:docMk/>
            <pc:sldMk cId="1609573155" sldId="323"/>
            <ac:grpSpMk id="41" creationId="{BBD59F77-DE4D-EC71-0CAB-18A44C816128}"/>
          </ac:grpSpMkLst>
        </pc:grpChg>
        <pc:grpChg chg="add del mod">
          <ac:chgData name="Rick van 't Spijker" userId="05a3d4c8-0c7e-4bd4-a89b-7182dd0df68e" providerId="ADAL" clId="{36EB911C-DF9F-409D-B5DF-7D92D4802149}" dt="2023-09-19T09:43:31.214" v="6913"/>
          <ac:grpSpMkLst>
            <pc:docMk/>
            <pc:sldMk cId="1609573155" sldId="323"/>
            <ac:grpSpMk id="50" creationId="{967EDC13-C799-9888-20D5-7505BA256FCD}"/>
          </ac:grpSpMkLst>
        </pc:grpChg>
        <pc:grpChg chg="add del mod">
          <ac:chgData name="Rick van 't Spijker" userId="05a3d4c8-0c7e-4bd4-a89b-7182dd0df68e" providerId="ADAL" clId="{36EB911C-DF9F-409D-B5DF-7D92D4802149}" dt="2023-09-19T09:43:31.214" v="6913"/>
          <ac:grpSpMkLst>
            <pc:docMk/>
            <pc:sldMk cId="1609573155" sldId="323"/>
            <ac:grpSpMk id="59" creationId="{2E14D4DB-8F3E-C738-4F3B-DB940E605946}"/>
          </ac:grpSpMkLst>
        </pc:grpChg>
        <pc:grpChg chg="add del mod">
          <ac:chgData name="Rick van 't Spijker" userId="05a3d4c8-0c7e-4bd4-a89b-7182dd0df68e" providerId="ADAL" clId="{36EB911C-DF9F-409D-B5DF-7D92D4802149}" dt="2023-09-19T09:43:31.214" v="6913"/>
          <ac:grpSpMkLst>
            <pc:docMk/>
            <pc:sldMk cId="1609573155" sldId="323"/>
            <ac:grpSpMk id="1030" creationId="{9848A222-F71F-F6C0-7043-DCBA5C9F785D}"/>
          </ac:grpSpMkLst>
        </pc:grpChg>
        <pc:picChg chg="add del mod">
          <ac:chgData name="Rick van 't Spijker" userId="05a3d4c8-0c7e-4bd4-a89b-7182dd0df68e" providerId="ADAL" clId="{36EB911C-DF9F-409D-B5DF-7D92D4802149}" dt="2023-09-19T09:44:42.391" v="6930" actId="478"/>
          <ac:picMkLst>
            <pc:docMk/>
            <pc:sldMk cId="1609573155" sldId="323"/>
            <ac:picMk id="2" creationId="{1D4FB694-3A5A-6099-28F4-40F4E48E567F}"/>
          </ac:picMkLst>
        </pc:picChg>
        <pc:picChg chg="mod">
          <ac:chgData name="Rick van 't Spijker" userId="05a3d4c8-0c7e-4bd4-a89b-7182dd0df68e" providerId="ADAL" clId="{36EB911C-DF9F-409D-B5DF-7D92D4802149}" dt="2023-09-19T09:45:13.092" v="6934" actId="1076"/>
          <ac:picMkLst>
            <pc:docMk/>
            <pc:sldMk cId="1609573155" sldId="323"/>
            <ac:picMk id="5" creationId="{BF7B398C-580D-873F-5B68-15304623CF0F}"/>
          </ac:picMkLst>
        </pc:picChg>
        <pc:picChg chg="del">
          <ac:chgData name="Rick van 't Spijker" userId="05a3d4c8-0c7e-4bd4-a89b-7182dd0df68e" providerId="ADAL" clId="{36EB911C-DF9F-409D-B5DF-7D92D4802149}" dt="2023-09-18T21:13:46.722" v="4296" actId="478"/>
          <ac:picMkLst>
            <pc:docMk/>
            <pc:sldMk cId="1609573155" sldId="323"/>
            <ac:picMk id="11" creationId="{B6E3CC65-A00F-BB8D-06EE-F5905BC2B8E0}"/>
          </ac:picMkLst>
        </pc:picChg>
        <pc:picChg chg="del">
          <ac:chgData name="Rick van 't Spijker" userId="05a3d4c8-0c7e-4bd4-a89b-7182dd0df68e" providerId="ADAL" clId="{36EB911C-DF9F-409D-B5DF-7D92D4802149}" dt="2023-09-18T21:13:48.193" v="4297" actId="478"/>
          <ac:picMkLst>
            <pc:docMk/>
            <pc:sldMk cId="1609573155" sldId="323"/>
            <ac:picMk id="13" creationId="{61C14CF4-4F0A-7EA2-6DA9-ACD602A50090}"/>
          </ac:picMkLst>
        </pc:picChg>
        <pc:picChg chg="mod">
          <ac:chgData name="Rick van 't Spijker" userId="05a3d4c8-0c7e-4bd4-a89b-7182dd0df68e" providerId="ADAL" clId="{36EB911C-DF9F-409D-B5DF-7D92D4802149}" dt="2023-09-19T09:43:29.079" v="6912"/>
          <ac:picMkLst>
            <pc:docMk/>
            <pc:sldMk cId="1609573155" sldId="323"/>
            <ac:picMk id="14" creationId="{D9AE7A43-FCC4-09AE-483B-E786C4DC66C6}"/>
          </ac:picMkLst>
        </pc:picChg>
        <pc:picChg chg="mod">
          <ac:chgData name="Rick van 't Spijker" userId="05a3d4c8-0c7e-4bd4-a89b-7182dd0df68e" providerId="ADAL" clId="{36EB911C-DF9F-409D-B5DF-7D92D4802149}" dt="2023-09-19T09:43:29.079" v="6912"/>
          <ac:picMkLst>
            <pc:docMk/>
            <pc:sldMk cId="1609573155" sldId="323"/>
            <ac:picMk id="15" creationId="{8EB8CE5A-0E2C-6509-B6F0-F13DDAB79B44}"/>
          </ac:picMkLst>
        </pc:picChg>
        <pc:picChg chg="mod">
          <ac:chgData name="Rick van 't Spijker" userId="05a3d4c8-0c7e-4bd4-a89b-7182dd0df68e" providerId="ADAL" clId="{36EB911C-DF9F-409D-B5DF-7D92D4802149}" dt="2023-09-19T09:43:29.079" v="6912"/>
          <ac:picMkLst>
            <pc:docMk/>
            <pc:sldMk cId="1609573155" sldId="323"/>
            <ac:picMk id="16" creationId="{AB56044C-2D75-8E82-1437-505BAD726261}"/>
          </ac:picMkLst>
        </pc:picChg>
        <pc:picChg chg="mod">
          <ac:chgData name="Rick van 't Spijker" userId="05a3d4c8-0c7e-4bd4-a89b-7182dd0df68e" providerId="ADAL" clId="{36EB911C-DF9F-409D-B5DF-7D92D4802149}" dt="2023-09-19T09:43:29.079" v="6912"/>
          <ac:picMkLst>
            <pc:docMk/>
            <pc:sldMk cId="1609573155" sldId="323"/>
            <ac:picMk id="17" creationId="{F577A670-1375-44D8-FBFA-E9D740FD628A}"/>
          </ac:picMkLst>
        </pc:picChg>
        <pc:picChg chg="mod">
          <ac:chgData name="Rick van 't Spijker" userId="05a3d4c8-0c7e-4bd4-a89b-7182dd0df68e" providerId="ADAL" clId="{36EB911C-DF9F-409D-B5DF-7D92D4802149}" dt="2023-09-19T09:43:29.079" v="6912"/>
          <ac:picMkLst>
            <pc:docMk/>
            <pc:sldMk cId="1609573155" sldId="323"/>
            <ac:picMk id="21" creationId="{FB54664C-2A4A-0DFB-5C3A-D1ED458CA213}"/>
          </ac:picMkLst>
        </pc:picChg>
        <pc:picChg chg="mod">
          <ac:chgData name="Rick van 't Spijker" userId="05a3d4c8-0c7e-4bd4-a89b-7182dd0df68e" providerId="ADAL" clId="{36EB911C-DF9F-409D-B5DF-7D92D4802149}" dt="2023-09-19T09:43:29.079" v="6912"/>
          <ac:picMkLst>
            <pc:docMk/>
            <pc:sldMk cId="1609573155" sldId="323"/>
            <ac:picMk id="22" creationId="{835B7607-F913-B0F4-167E-E4A426BD3003}"/>
          </ac:picMkLst>
        </pc:picChg>
        <pc:picChg chg="mod">
          <ac:chgData name="Rick van 't Spijker" userId="05a3d4c8-0c7e-4bd4-a89b-7182dd0df68e" providerId="ADAL" clId="{36EB911C-DF9F-409D-B5DF-7D92D4802149}" dt="2023-09-19T09:43:29.079" v="6912"/>
          <ac:picMkLst>
            <pc:docMk/>
            <pc:sldMk cId="1609573155" sldId="323"/>
            <ac:picMk id="23" creationId="{3EACAE2D-72E3-FE2E-E7A9-1E7EE308169E}"/>
          </ac:picMkLst>
        </pc:picChg>
        <pc:picChg chg="mod">
          <ac:chgData name="Rick van 't Spijker" userId="05a3d4c8-0c7e-4bd4-a89b-7182dd0df68e" providerId="ADAL" clId="{36EB911C-DF9F-409D-B5DF-7D92D4802149}" dt="2023-09-19T09:43:29.079" v="6912"/>
          <ac:picMkLst>
            <pc:docMk/>
            <pc:sldMk cId="1609573155" sldId="323"/>
            <ac:picMk id="24" creationId="{2A923940-B612-7099-282D-FEEF39E27A91}"/>
          </ac:picMkLst>
        </pc:picChg>
        <pc:picChg chg="mod">
          <ac:chgData name="Rick van 't Spijker" userId="05a3d4c8-0c7e-4bd4-a89b-7182dd0df68e" providerId="ADAL" clId="{36EB911C-DF9F-409D-B5DF-7D92D4802149}" dt="2023-09-19T09:43:29.079" v="6912"/>
          <ac:picMkLst>
            <pc:docMk/>
            <pc:sldMk cId="1609573155" sldId="323"/>
            <ac:picMk id="26" creationId="{FC4C2805-3AC1-71CE-EDD6-8780FEE106CB}"/>
          </ac:picMkLst>
        </pc:picChg>
        <pc:picChg chg="mod">
          <ac:chgData name="Rick van 't Spijker" userId="05a3d4c8-0c7e-4bd4-a89b-7182dd0df68e" providerId="ADAL" clId="{36EB911C-DF9F-409D-B5DF-7D92D4802149}" dt="2023-09-19T09:43:29.079" v="6912"/>
          <ac:picMkLst>
            <pc:docMk/>
            <pc:sldMk cId="1609573155" sldId="323"/>
            <ac:picMk id="27" creationId="{7224BDF7-387C-C972-28F9-C30E7C151419}"/>
          </ac:picMkLst>
        </pc:picChg>
        <pc:picChg chg="mod">
          <ac:chgData name="Rick van 't Spijker" userId="05a3d4c8-0c7e-4bd4-a89b-7182dd0df68e" providerId="ADAL" clId="{36EB911C-DF9F-409D-B5DF-7D92D4802149}" dt="2023-09-19T09:43:29.079" v="6912"/>
          <ac:picMkLst>
            <pc:docMk/>
            <pc:sldMk cId="1609573155" sldId="323"/>
            <ac:picMk id="28" creationId="{10E3A845-1703-AD72-594F-F546A8F3F491}"/>
          </ac:picMkLst>
        </pc:picChg>
        <pc:picChg chg="mod">
          <ac:chgData name="Rick van 't Spijker" userId="05a3d4c8-0c7e-4bd4-a89b-7182dd0df68e" providerId="ADAL" clId="{36EB911C-DF9F-409D-B5DF-7D92D4802149}" dt="2023-09-19T09:43:29.079" v="6912"/>
          <ac:picMkLst>
            <pc:docMk/>
            <pc:sldMk cId="1609573155" sldId="323"/>
            <ac:picMk id="29" creationId="{7A29910F-87E1-9D9A-0368-C9E7F7FFEFD2}"/>
          </ac:picMkLst>
        </pc:picChg>
        <pc:picChg chg="add del mod">
          <ac:chgData name="Rick van 't Spijker" userId="05a3d4c8-0c7e-4bd4-a89b-7182dd0df68e" providerId="ADAL" clId="{36EB911C-DF9F-409D-B5DF-7D92D4802149}" dt="2023-09-19T09:43:31.214" v="6913"/>
          <ac:picMkLst>
            <pc:docMk/>
            <pc:sldMk cId="1609573155" sldId="323"/>
            <ac:picMk id="34" creationId="{5F9DF302-7E77-5079-DB2C-21B33BCD0CB9}"/>
          </ac:picMkLst>
        </pc:picChg>
        <pc:picChg chg="add del mod">
          <ac:chgData name="Rick van 't Spijker" userId="05a3d4c8-0c7e-4bd4-a89b-7182dd0df68e" providerId="ADAL" clId="{36EB911C-DF9F-409D-B5DF-7D92D4802149}" dt="2023-09-19T09:43:31.214" v="6913"/>
          <ac:picMkLst>
            <pc:docMk/>
            <pc:sldMk cId="1609573155" sldId="323"/>
            <ac:picMk id="35" creationId="{CCB63104-575B-EF1A-9332-3D553E8BB610}"/>
          </ac:picMkLst>
        </pc:picChg>
        <pc:picChg chg="add del mod">
          <ac:chgData name="Rick van 't Spijker" userId="05a3d4c8-0c7e-4bd4-a89b-7182dd0df68e" providerId="ADAL" clId="{36EB911C-DF9F-409D-B5DF-7D92D4802149}" dt="2023-09-19T09:43:31.214" v="6913"/>
          <ac:picMkLst>
            <pc:docMk/>
            <pc:sldMk cId="1609573155" sldId="323"/>
            <ac:picMk id="36" creationId="{A18CE939-F8D3-EDB6-58F3-84EAB4627C0D}"/>
          </ac:picMkLst>
        </pc:picChg>
        <pc:picChg chg="add del mod">
          <ac:chgData name="Rick van 't Spijker" userId="05a3d4c8-0c7e-4bd4-a89b-7182dd0df68e" providerId="ADAL" clId="{36EB911C-DF9F-409D-B5DF-7D92D4802149}" dt="2023-09-19T09:43:31.214" v="6913"/>
          <ac:picMkLst>
            <pc:docMk/>
            <pc:sldMk cId="1609573155" sldId="323"/>
            <ac:picMk id="37" creationId="{336EF43B-EA66-4148-BABB-98ACDCBF472D}"/>
          </ac:picMkLst>
        </pc:picChg>
        <pc:picChg chg="add del mod">
          <ac:chgData name="Rick van 't Spijker" userId="05a3d4c8-0c7e-4bd4-a89b-7182dd0df68e" providerId="ADAL" clId="{36EB911C-DF9F-409D-B5DF-7D92D4802149}" dt="2023-09-19T09:43:31.214" v="6913"/>
          <ac:picMkLst>
            <pc:docMk/>
            <pc:sldMk cId="1609573155" sldId="323"/>
            <ac:picMk id="40" creationId="{C2D152D8-55C3-08AA-E257-D392AE238FE9}"/>
          </ac:picMkLst>
        </pc:picChg>
        <pc:picChg chg="add mod">
          <ac:chgData name="Rick van 't Spijker" userId="05a3d4c8-0c7e-4bd4-a89b-7182dd0df68e" providerId="ADAL" clId="{36EB911C-DF9F-409D-B5DF-7D92D4802149}" dt="2023-09-19T09:43:49.691" v="6919" actId="1076"/>
          <ac:picMkLst>
            <pc:docMk/>
            <pc:sldMk cId="1609573155" sldId="323"/>
            <ac:picMk id="1026" creationId="{0706FCFC-0475-236C-8BF9-29D9A54A0D6F}"/>
          </ac:picMkLst>
        </pc:picChg>
        <pc:picChg chg="add del mod">
          <ac:chgData name="Rick van 't Spijker" userId="05a3d4c8-0c7e-4bd4-a89b-7182dd0df68e" providerId="ADAL" clId="{36EB911C-DF9F-409D-B5DF-7D92D4802149}" dt="2023-09-19T09:43:31.214" v="6913"/>
          <ac:picMkLst>
            <pc:docMk/>
            <pc:sldMk cId="1609573155" sldId="323"/>
            <ac:picMk id="1038" creationId="{6D28442C-B480-D187-CECC-8641C770ED31}"/>
          </ac:picMkLst>
        </pc:picChg>
        <pc:picChg chg="add del mod">
          <ac:chgData name="Rick van 't Spijker" userId="05a3d4c8-0c7e-4bd4-a89b-7182dd0df68e" providerId="ADAL" clId="{36EB911C-DF9F-409D-B5DF-7D92D4802149}" dt="2023-09-19T09:43:31.214" v="6913"/>
          <ac:picMkLst>
            <pc:docMk/>
            <pc:sldMk cId="1609573155" sldId="323"/>
            <ac:picMk id="1039" creationId="{CEF49F86-347C-7C52-3780-2607D3EAB70C}"/>
          </ac:picMkLst>
        </pc:picChg>
        <pc:picChg chg="add del mod">
          <ac:chgData name="Rick van 't Spijker" userId="05a3d4c8-0c7e-4bd4-a89b-7182dd0df68e" providerId="ADAL" clId="{36EB911C-DF9F-409D-B5DF-7D92D4802149}" dt="2023-09-19T09:43:31.214" v="6913"/>
          <ac:picMkLst>
            <pc:docMk/>
            <pc:sldMk cId="1609573155" sldId="323"/>
            <ac:picMk id="1041" creationId="{5295F8FA-4BFB-8799-7481-2B8A0FADBD61}"/>
          </ac:picMkLst>
        </pc:picChg>
        <pc:picChg chg="add del mod">
          <ac:chgData name="Rick van 't Spijker" userId="05a3d4c8-0c7e-4bd4-a89b-7182dd0df68e" providerId="ADAL" clId="{36EB911C-DF9F-409D-B5DF-7D92D4802149}" dt="2023-09-19T09:44:44.459" v="6931" actId="478"/>
          <ac:picMkLst>
            <pc:docMk/>
            <pc:sldMk cId="1609573155" sldId="323"/>
            <ac:picMk id="1054" creationId="{BE66FE5F-63FD-343C-2B3C-05F6BA87CE4C}"/>
          </ac:picMkLst>
        </pc:picChg>
        <pc:cxnChg chg="add del mod">
          <ac:chgData name="Rick van 't Spijker" userId="05a3d4c8-0c7e-4bd4-a89b-7182dd0df68e" providerId="ADAL" clId="{36EB911C-DF9F-409D-B5DF-7D92D4802149}" dt="2023-09-19T09:43:31.214" v="6913"/>
          <ac:cxnSpMkLst>
            <pc:docMk/>
            <pc:sldMk cId="1609573155" sldId="323"/>
            <ac:cxnSpMk id="38" creationId="{A8648B0B-AA7E-73DC-6D41-A8D227FF0FEA}"/>
          </ac:cxnSpMkLst>
        </pc:cxnChg>
        <pc:cxnChg chg="add del mod">
          <ac:chgData name="Rick van 't Spijker" userId="05a3d4c8-0c7e-4bd4-a89b-7182dd0df68e" providerId="ADAL" clId="{36EB911C-DF9F-409D-B5DF-7D92D4802149}" dt="2023-09-19T09:43:31.214" v="6913"/>
          <ac:cxnSpMkLst>
            <pc:docMk/>
            <pc:sldMk cId="1609573155" sldId="323"/>
            <ac:cxnSpMk id="39" creationId="{75188C82-56F8-CEB2-6562-AD41FECDAA9E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42" creationId="{58BC2E0F-8BC7-6CC2-E6D9-1C4B6398CDE6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44" creationId="{8282D46E-945F-87FC-9AC6-343B01679A0C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45" creationId="{E1F28CA1-D91D-5AE3-7F18-2B0A8E0A1C59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46" creationId="{38B6E380-DE0C-04A2-4932-7B70B81587A0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47" creationId="{1D077C4C-586A-76AC-807E-AA4F22E2CD0B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48" creationId="{EF249FE5-AAAD-6E9E-2853-00608F115405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51" creationId="{C9CB2573-7CB6-4EEF-794E-CD7A6534B34D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53" creationId="{1565301D-B7E2-55EB-AA5F-4D43805E729D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54" creationId="{C71A7DA2-DF32-EB7F-FCBC-7336CF00FB54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55" creationId="{3ED323D8-846D-06B0-D428-EC6C49D4E5B6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56" creationId="{017713BE-C3D6-B0D9-481E-68A861FCBD08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57" creationId="{4C8647D1-64A4-F3FC-E296-3F0501759A5D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60" creationId="{03C399B1-5A69-38A0-655B-8CE0612DC7A7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62" creationId="{FA3B2290-431F-6D97-B3A4-D2051198BB42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63" creationId="{76B970F9-9C59-97F2-86D8-88225AD9862D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1024" creationId="{D133F93C-CBE9-E06A-BD34-ED461AFA2CA1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1025" creationId="{283D136B-7AED-4876-88D9-8429346A1D20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1027" creationId="{3C851592-2A8B-9594-A7CD-63159C6ABBB0}"/>
          </ac:cxnSpMkLst>
        </pc:cxnChg>
        <pc:cxnChg chg="add del mod">
          <ac:chgData name="Rick van 't Spijker" userId="05a3d4c8-0c7e-4bd4-a89b-7182dd0df68e" providerId="ADAL" clId="{36EB911C-DF9F-409D-B5DF-7D92D4802149}" dt="2023-09-19T09:43:31.214" v="6913"/>
          <ac:cxnSpMkLst>
            <pc:docMk/>
            <pc:sldMk cId="1609573155" sldId="323"/>
            <ac:cxnSpMk id="1029" creationId="{00039DB5-813A-E31A-E38D-20872EA5AA55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1031" creationId="{3F3FC3EE-DB97-A33A-33E0-B7EC77AA97D3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1033" creationId="{294B875D-9894-137C-072D-FF316DAFD99D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1034" creationId="{A9D2ADDA-BF64-6F2D-8372-87A75598A0CC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1035" creationId="{57DEA15E-E2A8-D4A3-DAF9-4DD58E1E5E74}"/>
          </ac:cxnSpMkLst>
        </pc:cxnChg>
        <pc:cxnChg chg="mod">
          <ac:chgData name="Rick van 't Spijker" userId="05a3d4c8-0c7e-4bd4-a89b-7182dd0df68e" providerId="ADAL" clId="{36EB911C-DF9F-409D-B5DF-7D92D4802149}" dt="2023-09-19T09:43:29.079" v="6912"/>
          <ac:cxnSpMkLst>
            <pc:docMk/>
            <pc:sldMk cId="1609573155" sldId="323"/>
            <ac:cxnSpMk id="1036" creationId="{5149E792-7F22-6249-B9BD-1EB7961F9441}"/>
          </ac:cxnSpMkLst>
        </pc:cxnChg>
        <pc:cxnChg chg="add del mod">
          <ac:chgData name="Rick van 't Spijker" userId="05a3d4c8-0c7e-4bd4-a89b-7182dd0df68e" providerId="ADAL" clId="{36EB911C-DF9F-409D-B5DF-7D92D4802149}" dt="2023-09-19T09:43:31.214" v="6913"/>
          <ac:cxnSpMkLst>
            <pc:docMk/>
            <pc:sldMk cId="1609573155" sldId="323"/>
            <ac:cxnSpMk id="1043" creationId="{767919A5-968C-75FE-880D-4A26440E6A9D}"/>
          </ac:cxnSpMkLst>
        </pc:cxnChg>
        <pc:cxnChg chg="add del mod">
          <ac:chgData name="Rick van 't Spijker" userId="05a3d4c8-0c7e-4bd4-a89b-7182dd0df68e" providerId="ADAL" clId="{36EB911C-DF9F-409D-B5DF-7D92D4802149}" dt="2023-09-19T09:43:31.214" v="6913"/>
          <ac:cxnSpMkLst>
            <pc:docMk/>
            <pc:sldMk cId="1609573155" sldId="323"/>
            <ac:cxnSpMk id="1051" creationId="{3184468E-3CE8-A602-FEDA-681BC839668F}"/>
          </ac:cxnSpMkLst>
        </pc:cxnChg>
        <pc:cxnChg chg="add del mod">
          <ac:chgData name="Rick van 't Spijker" userId="05a3d4c8-0c7e-4bd4-a89b-7182dd0df68e" providerId="ADAL" clId="{36EB911C-DF9F-409D-B5DF-7D92D4802149}" dt="2023-09-19T09:43:31.214" v="6913"/>
          <ac:cxnSpMkLst>
            <pc:docMk/>
            <pc:sldMk cId="1609573155" sldId="323"/>
            <ac:cxnSpMk id="1052" creationId="{513BDABD-F9E8-8AD2-A224-24ACA75293B5}"/>
          </ac:cxnSpMkLst>
        </pc:cxnChg>
        <pc:cxnChg chg="add del mod">
          <ac:chgData name="Rick van 't Spijker" userId="05a3d4c8-0c7e-4bd4-a89b-7182dd0df68e" providerId="ADAL" clId="{36EB911C-DF9F-409D-B5DF-7D92D4802149}" dt="2023-09-19T09:43:31.214" v="6913"/>
          <ac:cxnSpMkLst>
            <pc:docMk/>
            <pc:sldMk cId="1609573155" sldId="323"/>
            <ac:cxnSpMk id="1053" creationId="{0024DF86-2304-50C9-EA61-2E80DD40D563}"/>
          </ac:cxnSpMkLst>
        </pc:cxnChg>
      </pc:sldChg>
      <pc:sldChg chg="addSp delSp modSp add mod modAnim modNotesTx">
        <pc:chgData name="Rick van 't Spijker" userId="05a3d4c8-0c7e-4bd4-a89b-7182dd0df68e" providerId="ADAL" clId="{36EB911C-DF9F-409D-B5DF-7D92D4802149}" dt="2023-09-19T09:10:48" v="6134" actId="20577"/>
        <pc:sldMkLst>
          <pc:docMk/>
          <pc:sldMk cId="1483250515" sldId="324"/>
        </pc:sldMkLst>
        <pc:spChg chg="add del mod">
          <ac:chgData name="Rick van 't Spijker" userId="05a3d4c8-0c7e-4bd4-a89b-7182dd0df68e" providerId="ADAL" clId="{36EB911C-DF9F-409D-B5DF-7D92D4802149}" dt="2023-09-18T21:31:08.459" v="4649" actId="478"/>
          <ac:spMkLst>
            <pc:docMk/>
            <pc:sldMk cId="1483250515" sldId="324"/>
            <ac:spMk id="3" creationId="{9B34A47C-BA45-CB27-3A53-8BBF890DB42E}"/>
          </ac:spMkLst>
        </pc:spChg>
        <pc:spChg chg="del">
          <ac:chgData name="Rick van 't Spijker" userId="05a3d4c8-0c7e-4bd4-a89b-7182dd0df68e" providerId="ADAL" clId="{36EB911C-DF9F-409D-B5DF-7D92D4802149}" dt="2023-09-18T21:30:55.583" v="4646" actId="478"/>
          <ac:spMkLst>
            <pc:docMk/>
            <pc:sldMk cId="1483250515" sldId="324"/>
            <ac:spMk id="13" creationId="{C76CEB92-53C1-360C-0756-9E044CE068A6}"/>
          </ac:spMkLst>
        </pc:spChg>
        <pc:spChg chg="del">
          <ac:chgData name="Rick van 't Spijker" userId="05a3d4c8-0c7e-4bd4-a89b-7182dd0df68e" providerId="ADAL" clId="{36EB911C-DF9F-409D-B5DF-7D92D4802149}" dt="2023-09-18T21:30:59.036" v="4647" actId="478"/>
          <ac:spMkLst>
            <pc:docMk/>
            <pc:sldMk cId="1483250515" sldId="324"/>
            <ac:spMk id="15" creationId="{AB13612A-022E-9E7C-9D6A-2B52270322C4}"/>
          </ac:spMkLst>
        </pc:spChg>
        <pc:picChg chg="add mod ord">
          <ac:chgData name="Rick van 't Spijker" userId="05a3d4c8-0c7e-4bd4-a89b-7182dd0df68e" providerId="ADAL" clId="{36EB911C-DF9F-409D-B5DF-7D92D4802149}" dt="2023-09-19T09:09:24.373" v="6088" actId="167"/>
          <ac:picMkLst>
            <pc:docMk/>
            <pc:sldMk cId="1483250515" sldId="324"/>
            <ac:picMk id="2" creationId="{06DC982E-8E76-2749-6CEB-543320D38300}"/>
          </ac:picMkLst>
        </pc:picChg>
        <pc:picChg chg="add mod">
          <ac:chgData name="Rick van 't Spijker" userId="05a3d4c8-0c7e-4bd4-a89b-7182dd0df68e" providerId="ADAL" clId="{36EB911C-DF9F-409D-B5DF-7D92D4802149}" dt="2023-09-19T09:09:42.035" v="6089" actId="1076"/>
          <ac:picMkLst>
            <pc:docMk/>
            <pc:sldMk cId="1483250515" sldId="324"/>
            <ac:picMk id="5" creationId="{5B1E9B60-50D0-FC56-ED1B-FB1D7C542498}"/>
          </ac:picMkLst>
        </pc:picChg>
        <pc:picChg chg="add mod">
          <ac:chgData name="Rick van 't Spijker" userId="05a3d4c8-0c7e-4bd4-a89b-7182dd0df68e" providerId="ADAL" clId="{36EB911C-DF9F-409D-B5DF-7D92D4802149}" dt="2023-09-19T09:09:42.035" v="6089" actId="1076"/>
          <ac:picMkLst>
            <pc:docMk/>
            <pc:sldMk cId="1483250515" sldId="324"/>
            <ac:picMk id="6" creationId="{93A23E0E-18D0-2D11-9691-F00CCB2AF9B5}"/>
          </ac:picMkLst>
        </pc:picChg>
        <pc:picChg chg="del">
          <ac:chgData name="Rick van 't Spijker" userId="05a3d4c8-0c7e-4bd4-a89b-7182dd0df68e" providerId="ADAL" clId="{36EB911C-DF9F-409D-B5DF-7D92D4802149}" dt="2023-09-18T21:30:52.556" v="4645" actId="478"/>
          <ac:picMkLst>
            <pc:docMk/>
            <pc:sldMk cId="1483250515" sldId="324"/>
            <ac:picMk id="10" creationId="{F9989AFB-D573-B06C-86BE-472D19BF8AB7}"/>
          </ac:picMkLst>
        </pc:picChg>
        <pc:picChg chg="mod">
          <ac:chgData name="Rick van 't Spijker" userId="05a3d4c8-0c7e-4bd4-a89b-7182dd0df68e" providerId="ADAL" clId="{36EB911C-DF9F-409D-B5DF-7D92D4802149}" dt="2023-09-19T09:09:42.035" v="6089" actId="1076"/>
          <ac:picMkLst>
            <pc:docMk/>
            <pc:sldMk cId="1483250515" sldId="324"/>
            <ac:picMk id="2050" creationId="{A0B31315-80D1-81DA-B9F4-FA00B3A8B5CE}"/>
          </ac:picMkLst>
        </pc:picChg>
        <pc:picChg chg="add mod">
          <ac:chgData name="Rick van 't Spijker" userId="05a3d4c8-0c7e-4bd4-a89b-7182dd0df68e" providerId="ADAL" clId="{36EB911C-DF9F-409D-B5DF-7D92D4802149}" dt="2023-09-19T09:09:42.035" v="6089" actId="1076"/>
          <ac:picMkLst>
            <pc:docMk/>
            <pc:sldMk cId="1483250515" sldId="324"/>
            <ac:picMk id="4098" creationId="{C9319A6B-3134-7D36-00AA-BBAB0083EBD5}"/>
          </ac:picMkLst>
        </pc:picChg>
      </pc:sldChg>
      <pc:sldChg chg="addSp delSp modSp add mod ord delAnim modAnim chgLayout modNotesTx">
        <pc:chgData name="Rick van 't Spijker" userId="05a3d4c8-0c7e-4bd4-a89b-7182dd0df68e" providerId="ADAL" clId="{36EB911C-DF9F-409D-B5DF-7D92D4802149}" dt="2023-09-19T09:35:36.463" v="6841" actId="1076"/>
        <pc:sldMkLst>
          <pc:docMk/>
          <pc:sldMk cId="4023266643" sldId="325"/>
        </pc:sldMkLst>
        <pc:spChg chg="del mod ord">
          <ac:chgData name="Rick van 't Spijker" userId="05a3d4c8-0c7e-4bd4-a89b-7182dd0df68e" providerId="ADAL" clId="{36EB911C-DF9F-409D-B5DF-7D92D4802149}" dt="2023-09-19T09:35:07.655" v="6827" actId="478"/>
          <ac:spMkLst>
            <pc:docMk/>
            <pc:sldMk cId="4023266643" sldId="325"/>
            <ac:spMk id="4" creationId="{57085ABF-3549-113E-E9FF-CEECC73504C9}"/>
          </ac:spMkLst>
        </pc:spChg>
        <pc:spChg chg="add del mod ord">
          <ac:chgData name="Rick van 't Spijker" userId="05a3d4c8-0c7e-4bd4-a89b-7182dd0df68e" providerId="ADAL" clId="{36EB911C-DF9F-409D-B5DF-7D92D4802149}" dt="2023-09-18T22:00:39.556" v="5202" actId="478"/>
          <ac:spMkLst>
            <pc:docMk/>
            <pc:sldMk cId="4023266643" sldId="325"/>
            <ac:spMk id="8" creationId="{011F45E6-63A6-7E2E-9027-2101C3BFA0F2}"/>
          </ac:spMkLst>
        </pc:spChg>
        <pc:spChg chg="add del mod ord">
          <ac:chgData name="Rick van 't Spijker" userId="05a3d4c8-0c7e-4bd4-a89b-7182dd0df68e" providerId="ADAL" clId="{36EB911C-DF9F-409D-B5DF-7D92D4802149}" dt="2023-09-18T22:04:05.482" v="5363" actId="478"/>
          <ac:spMkLst>
            <pc:docMk/>
            <pc:sldMk cId="4023266643" sldId="325"/>
            <ac:spMk id="9" creationId="{65CFE373-4FD0-B92D-C32C-6B16299647C8}"/>
          </ac:spMkLst>
        </pc:spChg>
        <pc:spChg chg="add del mod">
          <ac:chgData name="Rick van 't Spijker" userId="05a3d4c8-0c7e-4bd4-a89b-7182dd0df68e" providerId="ADAL" clId="{36EB911C-DF9F-409D-B5DF-7D92D4802149}" dt="2023-09-19T09:35:10.506" v="6828" actId="478"/>
          <ac:spMkLst>
            <pc:docMk/>
            <pc:sldMk cId="4023266643" sldId="325"/>
            <ac:spMk id="9" creationId="{E94A86E1-6C98-7D71-B426-450A2C4DB33D}"/>
          </ac:spMkLst>
        </pc:spChg>
        <pc:spChg chg="add del mod">
          <ac:chgData name="Rick van 't Spijker" userId="05a3d4c8-0c7e-4bd4-a89b-7182dd0df68e" providerId="ADAL" clId="{36EB911C-DF9F-409D-B5DF-7D92D4802149}" dt="2023-09-18T22:10:02.899" v="5381" actId="478"/>
          <ac:spMkLst>
            <pc:docMk/>
            <pc:sldMk cId="4023266643" sldId="325"/>
            <ac:spMk id="11" creationId="{A15600A9-A5B5-3957-AFB5-B33C8333D8B4}"/>
          </ac:spMkLst>
        </pc:spChg>
        <pc:picChg chg="add mod">
          <ac:chgData name="Rick van 't Spijker" userId="05a3d4c8-0c7e-4bd4-a89b-7182dd0df68e" providerId="ADAL" clId="{36EB911C-DF9F-409D-B5DF-7D92D4802149}" dt="2023-09-19T09:35:32.037" v="6839" actId="1076"/>
          <ac:picMkLst>
            <pc:docMk/>
            <pc:sldMk cId="4023266643" sldId="325"/>
            <ac:picMk id="2" creationId="{B4FACBDA-95F4-7F23-1DCB-94081EB6C17C}"/>
          </ac:picMkLst>
        </pc:picChg>
        <pc:picChg chg="add mod">
          <ac:chgData name="Rick van 't Spijker" userId="05a3d4c8-0c7e-4bd4-a89b-7182dd0df68e" providerId="ADAL" clId="{36EB911C-DF9F-409D-B5DF-7D92D4802149}" dt="2023-09-19T09:35:22.031" v="6834" actId="1076"/>
          <ac:picMkLst>
            <pc:docMk/>
            <pc:sldMk cId="4023266643" sldId="325"/>
            <ac:picMk id="3" creationId="{7C9990D6-7A7D-615D-2420-2B594B8EE1DB}"/>
          </ac:picMkLst>
        </pc:picChg>
        <pc:picChg chg="del">
          <ac:chgData name="Rick van 't Spijker" userId="05a3d4c8-0c7e-4bd4-a89b-7182dd0df68e" providerId="ADAL" clId="{36EB911C-DF9F-409D-B5DF-7D92D4802149}" dt="2023-09-18T21:49:58.922" v="4734" actId="478"/>
          <ac:picMkLst>
            <pc:docMk/>
            <pc:sldMk cId="4023266643" sldId="325"/>
            <ac:picMk id="5" creationId="{5B1E9B60-50D0-FC56-ED1B-FB1D7C542498}"/>
          </ac:picMkLst>
        </pc:picChg>
        <pc:picChg chg="add mod">
          <ac:chgData name="Rick van 't Spijker" userId="05a3d4c8-0c7e-4bd4-a89b-7182dd0df68e" providerId="ADAL" clId="{36EB911C-DF9F-409D-B5DF-7D92D4802149}" dt="2023-09-19T09:35:19.942" v="6832" actId="1076"/>
          <ac:picMkLst>
            <pc:docMk/>
            <pc:sldMk cId="4023266643" sldId="325"/>
            <ac:picMk id="5" creationId="{9BB1206F-32F4-789C-B6FC-A53816F135D0}"/>
          </ac:picMkLst>
        </pc:picChg>
        <pc:picChg chg="add mod">
          <ac:chgData name="Rick van 't Spijker" userId="05a3d4c8-0c7e-4bd4-a89b-7182dd0df68e" providerId="ADAL" clId="{36EB911C-DF9F-409D-B5DF-7D92D4802149}" dt="2023-09-19T09:35:27.298" v="6836" actId="1076"/>
          <ac:picMkLst>
            <pc:docMk/>
            <pc:sldMk cId="4023266643" sldId="325"/>
            <ac:picMk id="6" creationId="{33681510-D5F6-B4D4-42F0-0A0B8CCC5872}"/>
          </ac:picMkLst>
        </pc:picChg>
        <pc:picChg chg="del">
          <ac:chgData name="Rick van 't Spijker" userId="05a3d4c8-0c7e-4bd4-a89b-7182dd0df68e" providerId="ADAL" clId="{36EB911C-DF9F-409D-B5DF-7D92D4802149}" dt="2023-09-18T21:49:58.215" v="4733" actId="478"/>
          <ac:picMkLst>
            <pc:docMk/>
            <pc:sldMk cId="4023266643" sldId="325"/>
            <ac:picMk id="6" creationId="{93A23E0E-18D0-2D11-9691-F00CCB2AF9B5}"/>
          </ac:picMkLst>
        </pc:picChg>
        <pc:picChg chg="add mod">
          <ac:chgData name="Rick van 't Spijker" userId="05a3d4c8-0c7e-4bd4-a89b-7182dd0df68e" providerId="ADAL" clId="{36EB911C-DF9F-409D-B5DF-7D92D4802149}" dt="2023-09-19T09:35:29.014" v="6837" actId="1076"/>
          <ac:picMkLst>
            <pc:docMk/>
            <pc:sldMk cId="4023266643" sldId="325"/>
            <ac:picMk id="7" creationId="{5A326D57-6E5B-4610-7973-F5AE35D7A35D}"/>
          </ac:picMkLst>
        </pc:picChg>
        <pc:picChg chg="del mod">
          <ac:chgData name="Rick van 't Spijker" userId="05a3d4c8-0c7e-4bd4-a89b-7182dd0df68e" providerId="ADAL" clId="{36EB911C-DF9F-409D-B5DF-7D92D4802149}" dt="2023-09-18T22:00:28.276" v="5200" actId="478"/>
          <ac:picMkLst>
            <pc:docMk/>
            <pc:sldMk cId="4023266643" sldId="325"/>
            <ac:picMk id="7" creationId="{A5068F44-077B-35B5-71D2-0363AD2029C5}"/>
          </ac:picMkLst>
        </pc:picChg>
        <pc:picChg chg="add mod">
          <ac:chgData name="Rick van 't Spijker" userId="05a3d4c8-0c7e-4bd4-a89b-7182dd0df68e" providerId="ADAL" clId="{36EB911C-DF9F-409D-B5DF-7D92D4802149}" dt="2023-09-19T09:35:30.242" v="6838" actId="1076"/>
          <ac:picMkLst>
            <pc:docMk/>
            <pc:sldMk cId="4023266643" sldId="325"/>
            <ac:picMk id="12" creationId="{BEFC3645-EED8-DDCC-C178-72F82A471648}"/>
          </ac:picMkLst>
        </pc:picChg>
        <pc:picChg chg="del">
          <ac:chgData name="Rick van 't Spijker" userId="05a3d4c8-0c7e-4bd4-a89b-7182dd0df68e" providerId="ADAL" clId="{36EB911C-DF9F-409D-B5DF-7D92D4802149}" dt="2023-09-18T21:49:57.370" v="4732" actId="478"/>
          <ac:picMkLst>
            <pc:docMk/>
            <pc:sldMk cId="4023266643" sldId="325"/>
            <ac:picMk id="2050" creationId="{A0B31315-80D1-81DA-B9F4-FA00B3A8B5CE}"/>
          </ac:picMkLst>
        </pc:picChg>
        <pc:picChg chg="del">
          <ac:chgData name="Rick van 't Spijker" userId="05a3d4c8-0c7e-4bd4-a89b-7182dd0df68e" providerId="ADAL" clId="{36EB911C-DF9F-409D-B5DF-7D92D4802149}" dt="2023-09-18T21:49:59.624" v="4735" actId="478"/>
          <ac:picMkLst>
            <pc:docMk/>
            <pc:sldMk cId="4023266643" sldId="325"/>
            <ac:picMk id="4098" creationId="{C9319A6B-3134-7D36-00AA-BBAB0083EBD5}"/>
          </ac:picMkLst>
        </pc:picChg>
        <pc:picChg chg="add mod">
          <ac:chgData name="Rick van 't Spijker" userId="05a3d4c8-0c7e-4bd4-a89b-7182dd0df68e" providerId="ADAL" clId="{36EB911C-DF9F-409D-B5DF-7D92D4802149}" dt="2023-09-19T09:35:36.463" v="6841" actId="1076"/>
          <ac:picMkLst>
            <pc:docMk/>
            <pc:sldMk cId="4023266643" sldId="325"/>
            <ac:picMk id="5122" creationId="{0CDD04CF-425D-9746-86D7-4F0A054AB9C1}"/>
          </ac:picMkLst>
        </pc:picChg>
      </pc:sldChg>
      <pc:sldChg chg="addSp delSp modSp add del mod">
        <pc:chgData name="Rick van 't Spijker" userId="05a3d4c8-0c7e-4bd4-a89b-7182dd0df68e" providerId="ADAL" clId="{36EB911C-DF9F-409D-B5DF-7D92D4802149}" dt="2023-09-18T22:18:02.303" v="5691" actId="47"/>
        <pc:sldMkLst>
          <pc:docMk/>
          <pc:sldMk cId="248530432" sldId="326"/>
        </pc:sldMkLst>
        <pc:spChg chg="mod">
          <ac:chgData name="Rick van 't Spijker" userId="05a3d4c8-0c7e-4bd4-a89b-7182dd0df68e" providerId="ADAL" clId="{36EB911C-DF9F-409D-B5DF-7D92D4802149}" dt="2023-09-18T22:09:34.420" v="5377" actId="20577"/>
          <ac:spMkLst>
            <pc:docMk/>
            <pc:sldMk cId="248530432" sldId="326"/>
            <ac:spMk id="4" creationId="{57085ABF-3549-113E-E9FF-CEECC73504C9}"/>
          </ac:spMkLst>
        </pc:spChg>
        <pc:picChg chg="del">
          <ac:chgData name="Rick van 't Spijker" userId="05a3d4c8-0c7e-4bd4-a89b-7182dd0df68e" providerId="ADAL" clId="{36EB911C-DF9F-409D-B5DF-7D92D4802149}" dt="2023-09-18T22:09:17.346" v="5372" actId="478"/>
          <ac:picMkLst>
            <pc:docMk/>
            <pc:sldMk cId="248530432" sldId="326"/>
            <ac:picMk id="2" creationId="{B4FACBDA-95F4-7F23-1DCB-94081EB6C17C}"/>
          </ac:picMkLst>
        </pc:picChg>
        <pc:picChg chg="del">
          <ac:chgData name="Rick van 't Spijker" userId="05a3d4c8-0c7e-4bd4-a89b-7182dd0df68e" providerId="ADAL" clId="{36EB911C-DF9F-409D-B5DF-7D92D4802149}" dt="2023-09-18T22:09:16.500" v="5371" actId="478"/>
          <ac:picMkLst>
            <pc:docMk/>
            <pc:sldMk cId="248530432" sldId="326"/>
            <ac:picMk id="3" creationId="{7C9990D6-7A7D-615D-2420-2B594B8EE1DB}"/>
          </ac:picMkLst>
        </pc:picChg>
        <pc:picChg chg="del">
          <ac:chgData name="Rick van 't Spijker" userId="05a3d4c8-0c7e-4bd4-a89b-7182dd0df68e" providerId="ADAL" clId="{36EB911C-DF9F-409D-B5DF-7D92D4802149}" dt="2023-09-18T22:09:15.542" v="5370" actId="478"/>
          <ac:picMkLst>
            <pc:docMk/>
            <pc:sldMk cId="248530432" sldId="326"/>
            <ac:picMk id="5122" creationId="{0CDD04CF-425D-9746-86D7-4F0A054AB9C1}"/>
          </ac:picMkLst>
        </pc:picChg>
        <pc:picChg chg="add del mod">
          <ac:chgData name="Rick van 't Spijker" userId="05a3d4c8-0c7e-4bd4-a89b-7182dd0df68e" providerId="ADAL" clId="{36EB911C-DF9F-409D-B5DF-7D92D4802149}" dt="2023-09-18T22:09:52.262" v="5378" actId="21"/>
          <ac:picMkLst>
            <pc:docMk/>
            <pc:sldMk cId="248530432" sldId="326"/>
            <ac:picMk id="6146" creationId="{2996035E-D42E-6BE7-1C6C-2BBAC097E6D5}"/>
          </ac:picMkLst>
        </pc:picChg>
      </pc:sldChg>
      <pc:sldChg chg="addSp delSp modSp add mod modNotesTx">
        <pc:chgData name="Rick van 't Spijker" userId="05a3d4c8-0c7e-4bd4-a89b-7182dd0df68e" providerId="ADAL" clId="{36EB911C-DF9F-409D-B5DF-7D92D4802149}" dt="2023-09-19T09:22:45.619" v="6208" actId="1076"/>
        <pc:sldMkLst>
          <pc:docMk/>
          <pc:sldMk cId="3385579298" sldId="327"/>
        </pc:sldMkLst>
        <pc:spChg chg="add del mod">
          <ac:chgData name="Rick van 't Spijker" userId="05a3d4c8-0c7e-4bd4-a89b-7182dd0df68e" providerId="ADAL" clId="{36EB911C-DF9F-409D-B5DF-7D92D4802149}" dt="2023-09-19T09:16:16.324" v="6150" actId="478"/>
          <ac:spMkLst>
            <pc:docMk/>
            <pc:sldMk cId="3385579298" sldId="327"/>
            <ac:spMk id="3" creationId="{6E98E8FE-F071-6B14-B0C6-4F84ECE5DF29}"/>
          </ac:spMkLst>
        </pc:spChg>
        <pc:spChg chg="mod">
          <ac:chgData name="Rick van 't Spijker" userId="05a3d4c8-0c7e-4bd4-a89b-7182dd0df68e" providerId="ADAL" clId="{36EB911C-DF9F-409D-B5DF-7D92D4802149}" dt="2023-09-18T22:12:53.266" v="5418" actId="20577"/>
          <ac:spMkLst>
            <pc:docMk/>
            <pc:sldMk cId="3385579298" sldId="327"/>
            <ac:spMk id="4" creationId="{57085ABF-3549-113E-E9FF-CEECC73504C9}"/>
          </ac:spMkLst>
        </pc:spChg>
        <pc:spChg chg="del mod">
          <ac:chgData name="Rick van 't Spijker" userId="05a3d4c8-0c7e-4bd4-a89b-7182dd0df68e" providerId="ADAL" clId="{36EB911C-DF9F-409D-B5DF-7D92D4802149}" dt="2023-09-19T09:16:13.545" v="6149" actId="478"/>
          <ac:spMkLst>
            <pc:docMk/>
            <pc:sldMk cId="3385579298" sldId="327"/>
            <ac:spMk id="11" creationId="{A15600A9-A5B5-3957-AFB5-B33C8333D8B4}"/>
          </ac:spMkLst>
        </pc:spChg>
        <pc:picChg chg="add mod ord">
          <ac:chgData name="Rick van 't Spijker" userId="05a3d4c8-0c7e-4bd4-a89b-7182dd0df68e" providerId="ADAL" clId="{36EB911C-DF9F-409D-B5DF-7D92D4802149}" dt="2023-09-19T09:22:45.619" v="6208" actId="1076"/>
          <ac:picMkLst>
            <pc:docMk/>
            <pc:sldMk cId="3385579298" sldId="327"/>
            <ac:picMk id="5" creationId="{20D56336-74B5-D178-E327-E9F50E21A89A}"/>
          </ac:picMkLst>
        </pc:picChg>
        <pc:picChg chg="add mod">
          <ac:chgData name="Rick van 't Spijker" userId="05a3d4c8-0c7e-4bd4-a89b-7182dd0df68e" providerId="ADAL" clId="{36EB911C-DF9F-409D-B5DF-7D92D4802149}" dt="2023-09-19T09:22:05.507" v="6195" actId="1076"/>
          <ac:picMkLst>
            <pc:docMk/>
            <pc:sldMk cId="3385579298" sldId="327"/>
            <ac:picMk id="4098" creationId="{8E022899-DE16-A44C-A63B-27AE974A098B}"/>
          </ac:picMkLst>
        </pc:picChg>
        <pc:picChg chg="add mod">
          <ac:chgData name="Rick van 't Spijker" userId="05a3d4c8-0c7e-4bd4-a89b-7182dd0df68e" providerId="ADAL" clId="{36EB911C-DF9F-409D-B5DF-7D92D4802149}" dt="2023-09-19T09:22:36.546" v="6204" actId="1076"/>
          <ac:picMkLst>
            <pc:docMk/>
            <pc:sldMk cId="3385579298" sldId="327"/>
            <ac:picMk id="4100" creationId="{2C18ECF8-4FB7-1813-7EE5-9E8F75CAF93E}"/>
          </ac:picMkLst>
        </pc:picChg>
        <pc:picChg chg="add mod">
          <ac:chgData name="Rick van 't Spijker" userId="05a3d4c8-0c7e-4bd4-a89b-7182dd0df68e" providerId="ADAL" clId="{36EB911C-DF9F-409D-B5DF-7D92D4802149}" dt="2023-09-19T09:22:44.395" v="6207" actId="1076"/>
          <ac:picMkLst>
            <pc:docMk/>
            <pc:sldMk cId="3385579298" sldId="327"/>
            <ac:picMk id="4102" creationId="{039E0712-1420-BA58-E642-3A39A6E5B869}"/>
          </ac:picMkLst>
        </pc:picChg>
        <pc:picChg chg="add mod">
          <ac:chgData name="Rick van 't Spijker" userId="05a3d4c8-0c7e-4bd4-a89b-7182dd0df68e" providerId="ADAL" clId="{36EB911C-DF9F-409D-B5DF-7D92D4802149}" dt="2023-09-19T09:22:42.594" v="6206" actId="1076"/>
          <ac:picMkLst>
            <pc:docMk/>
            <pc:sldMk cId="3385579298" sldId="327"/>
            <ac:picMk id="4104" creationId="{1EAA208F-D452-98B6-D3D4-63762FE6FB7B}"/>
          </ac:picMkLst>
        </pc:picChg>
      </pc:sldChg>
      <pc:sldChg chg="addSp delSp modSp add mod ord delAnim">
        <pc:chgData name="Rick van 't Spijker" userId="05a3d4c8-0c7e-4bd4-a89b-7182dd0df68e" providerId="ADAL" clId="{36EB911C-DF9F-409D-B5DF-7D92D4802149}" dt="2023-09-19T09:44:39.202" v="6929"/>
        <pc:sldMkLst>
          <pc:docMk/>
          <pc:sldMk cId="923329447" sldId="328"/>
        </pc:sldMkLst>
        <pc:spChg chg="del">
          <ac:chgData name="Rick van 't Spijker" userId="05a3d4c8-0c7e-4bd4-a89b-7182dd0df68e" providerId="ADAL" clId="{36EB911C-DF9F-409D-B5DF-7D92D4802149}" dt="2023-09-19T09:44:15.629" v="6923" actId="478"/>
          <ac:spMkLst>
            <pc:docMk/>
            <pc:sldMk cId="923329447" sldId="328"/>
            <ac:spMk id="6" creationId="{C77A14AE-F1D4-C12C-66E8-7A615B1D43A0}"/>
          </ac:spMkLst>
        </pc:spChg>
        <pc:spChg chg="add del mod">
          <ac:chgData name="Rick van 't Spijker" userId="05a3d4c8-0c7e-4bd4-a89b-7182dd0df68e" providerId="ADAL" clId="{36EB911C-DF9F-409D-B5DF-7D92D4802149}" dt="2023-09-19T09:44:17.434" v="6924" actId="478"/>
          <ac:spMkLst>
            <pc:docMk/>
            <pc:sldMk cId="923329447" sldId="328"/>
            <ac:spMk id="7" creationId="{8E37DC7D-D06E-7D59-26D4-5422705C12DE}"/>
          </ac:spMkLst>
        </pc:spChg>
        <pc:picChg chg="del">
          <ac:chgData name="Rick van 't Spijker" userId="05a3d4c8-0c7e-4bd4-a89b-7182dd0df68e" providerId="ADAL" clId="{36EB911C-DF9F-409D-B5DF-7D92D4802149}" dt="2023-09-19T09:44:13.898" v="6922" actId="478"/>
          <ac:picMkLst>
            <pc:docMk/>
            <pc:sldMk cId="923329447" sldId="328"/>
            <ac:picMk id="5" creationId="{BF7B398C-580D-873F-5B68-15304623CF0F}"/>
          </ac:picMkLst>
        </pc:picChg>
        <pc:picChg chg="mod">
          <ac:chgData name="Rick van 't Spijker" userId="05a3d4c8-0c7e-4bd4-a89b-7182dd0df68e" providerId="ADAL" clId="{36EB911C-DF9F-409D-B5DF-7D92D4802149}" dt="2023-09-19T09:44:26.825" v="6926" actId="1076"/>
          <ac:picMkLst>
            <pc:docMk/>
            <pc:sldMk cId="923329447" sldId="328"/>
            <ac:picMk id="1026" creationId="{0706FCFC-0475-236C-8BF9-29D9A54A0D6F}"/>
          </ac:picMkLst>
        </pc:picChg>
        <pc:picChg chg="mod">
          <ac:chgData name="Rick van 't Spijker" userId="05a3d4c8-0c7e-4bd4-a89b-7182dd0df68e" providerId="ADAL" clId="{36EB911C-DF9F-409D-B5DF-7D92D4802149}" dt="2023-09-19T09:44:29.218" v="6927" actId="1076"/>
          <ac:picMkLst>
            <pc:docMk/>
            <pc:sldMk cId="923329447" sldId="328"/>
            <ac:picMk id="1054" creationId="{BE66FE5F-63FD-343C-2B3C-05F6BA87CE4C}"/>
          </ac:picMkLst>
        </pc:picChg>
      </pc:sldChg>
      <pc:sldChg chg="addSp delSp modSp add del mod modClrScheme chgLayout">
        <pc:chgData name="Rick van 't Spijker" userId="05a3d4c8-0c7e-4bd4-a89b-7182dd0df68e" providerId="ADAL" clId="{36EB911C-DF9F-409D-B5DF-7D92D4802149}" dt="2023-09-19T09:53:10.109" v="6972" actId="47"/>
        <pc:sldMkLst>
          <pc:docMk/>
          <pc:sldMk cId="2193132447" sldId="2147472121"/>
        </pc:sldMkLst>
        <pc:spChg chg="mod ord">
          <ac:chgData name="Rick van 't Spijker" userId="05a3d4c8-0c7e-4bd4-a89b-7182dd0df68e" providerId="ADAL" clId="{36EB911C-DF9F-409D-B5DF-7D92D4802149}" dt="2023-09-19T09:50:25.148" v="6942" actId="700"/>
          <ac:spMkLst>
            <pc:docMk/>
            <pc:sldMk cId="2193132447" sldId="2147472121"/>
            <ac:spMk id="2" creationId="{09C8CA23-8726-AE70-BBAB-D4256DB8AAC0}"/>
          </ac:spMkLst>
        </pc:spChg>
        <pc:spChg chg="add del mod ord">
          <ac:chgData name="Rick van 't Spijker" userId="05a3d4c8-0c7e-4bd4-a89b-7182dd0df68e" providerId="ADAL" clId="{36EB911C-DF9F-409D-B5DF-7D92D4802149}" dt="2023-09-19T09:50:25.148" v="6942" actId="700"/>
          <ac:spMkLst>
            <pc:docMk/>
            <pc:sldMk cId="2193132447" sldId="2147472121"/>
            <ac:spMk id="6" creationId="{FAF837F5-0962-53AC-B1C4-C14B75FCCC7D}"/>
          </ac:spMkLst>
        </pc:spChg>
        <pc:spChg chg="add del mod ord">
          <ac:chgData name="Rick van 't Spijker" userId="05a3d4c8-0c7e-4bd4-a89b-7182dd0df68e" providerId="ADAL" clId="{36EB911C-DF9F-409D-B5DF-7D92D4802149}" dt="2023-09-19T09:50:25.148" v="6942" actId="700"/>
          <ac:spMkLst>
            <pc:docMk/>
            <pc:sldMk cId="2193132447" sldId="2147472121"/>
            <ac:spMk id="21" creationId="{FC98BCCB-0027-4F61-61E9-17BCF92CB37B}"/>
          </ac:spMkLst>
        </pc:spChg>
      </pc:sldChg>
      <pc:sldMasterChg chg="delSldLayout">
        <pc:chgData name="Rick van 't Spijker" userId="05a3d4c8-0c7e-4bd4-a89b-7182dd0df68e" providerId="ADAL" clId="{36EB911C-DF9F-409D-B5DF-7D92D4802149}" dt="2023-09-19T09:53:10.109" v="6972" actId="47"/>
        <pc:sldMasterMkLst>
          <pc:docMk/>
          <pc:sldMasterMk cId="4279813503" sldId="2147483693"/>
        </pc:sldMasterMkLst>
        <pc:sldLayoutChg chg="del">
          <pc:chgData name="Rick van 't Spijker" userId="05a3d4c8-0c7e-4bd4-a89b-7182dd0df68e" providerId="ADAL" clId="{36EB911C-DF9F-409D-B5DF-7D92D4802149}" dt="2023-09-19T09:53:10.109" v="6972" actId="47"/>
          <pc:sldLayoutMkLst>
            <pc:docMk/>
            <pc:sldMasterMk cId="4279813503" sldId="2147483693"/>
            <pc:sldLayoutMk cId="3401508325" sldId="2147483730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747CAD-9028-8A4C-A9B9-7EE470665A09}" type="datetimeFigureOut">
              <a:rPr lang="nl-NL" smtClean="0"/>
              <a:t>20-9-2023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FF19BC-0128-CB4A-9143-72842B9BB2C7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5927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199660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err="1"/>
              <a:t>Fabric</a:t>
            </a:r>
            <a:r>
              <a:rPr lang="nl-NL"/>
              <a:t> technologie in datacenters </a:t>
            </a:r>
          </a:p>
          <a:p>
            <a:pPr marL="171450" indent="-171450">
              <a:buFontTx/>
              <a:buChar char="-"/>
            </a:pPr>
            <a:r>
              <a:rPr lang="nl-NL"/>
              <a:t>ACI</a:t>
            </a:r>
          </a:p>
          <a:p>
            <a:pPr marL="171450" indent="-171450">
              <a:buFontTx/>
              <a:buChar char="-"/>
            </a:pPr>
            <a:r>
              <a:rPr lang="nl-NL"/>
              <a:t>IP </a:t>
            </a:r>
            <a:r>
              <a:rPr lang="nl-NL" err="1"/>
              <a:t>Fabric</a:t>
            </a:r>
            <a:endParaRPr lang="nl-NL"/>
          </a:p>
          <a:p>
            <a:pPr marL="171450" indent="-171450">
              <a:buFontTx/>
              <a:buChar char="-"/>
            </a:pPr>
            <a:r>
              <a:rPr lang="nl-NL"/>
              <a:t>NSX </a:t>
            </a:r>
            <a:r>
              <a:rPr lang="nl-NL" err="1"/>
              <a:t>fabric</a:t>
            </a:r>
            <a:endParaRPr lang="nl-NL"/>
          </a:p>
          <a:p>
            <a:pPr marL="171450" indent="-171450">
              <a:buFontTx/>
              <a:buChar char="-"/>
            </a:pPr>
            <a:endParaRPr lang="nl-NL"/>
          </a:p>
          <a:p>
            <a:pPr marL="0" indent="0">
              <a:buFontTx/>
              <a:buNone/>
            </a:pPr>
            <a:r>
              <a:rPr lang="nl-NL"/>
              <a:t>Security eisen ten aanzien van Data: Data in Rest, Data in </a:t>
            </a:r>
            <a:r>
              <a:rPr lang="nl-NL" err="1"/>
              <a:t>Use</a:t>
            </a:r>
            <a:r>
              <a:rPr lang="nl-NL"/>
              <a:t> en Data in Transit</a:t>
            </a:r>
          </a:p>
          <a:p>
            <a:pPr marL="171450" indent="-171450">
              <a:buFontTx/>
              <a:buChar char="-"/>
            </a:pPr>
            <a:r>
              <a:rPr lang="nl-NL" err="1"/>
              <a:t>Encryption</a:t>
            </a:r>
            <a:r>
              <a:rPr lang="nl-NL"/>
              <a:t> op verschillende niveaus</a:t>
            </a:r>
          </a:p>
          <a:p>
            <a:pPr marL="171450" indent="-171450">
              <a:buFontTx/>
              <a:buChar char="-"/>
            </a:pPr>
            <a:r>
              <a:rPr lang="nl-NL"/>
              <a:t>NIS2 die gaat komen stelt meer specifieke eisen aan de versleuteling van data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693076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/>
              <a:t>NSX Security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1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941557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/>
              <a:t>NSX Security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767937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1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096029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1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650921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/>
              <a:t>Steeds belangrijker om inzicht te hebben in het verkeer op het netwerk</a:t>
            </a:r>
          </a:p>
          <a:p>
            <a:r>
              <a:rPr lang="nl-NL"/>
              <a:t>Zeker door de </a:t>
            </a:r>
            <a:r>
              <a:rPr lang="nl-NL" err="1"/>
              <a:t>multi-cloud</a:t>
            </a:r>
            <a:r>
              <a:rPr lang="nl-NL"/>
              <a:t> trend wil je end-</a:t>
            </a:r>
            <a:r>
              <a:rPr lang="nl-NL" err="1"/>
              <a:t>to</a:t>
            </a:r>
            <a:r>
              <a:rPr lang="nl-NL"/>
              <a:t>-end het gebruik monitoren en in kunnen grijpen als dat nodig is</a:t>
            </a:r>
          </a:p>
          <a:p>
            <a:r>
              <a:rPr lang="nl-NL"/>
              <a:t>Daarbij zie je dat de management </a:t>
            </a:r>
            <a:r>
              <a:rPr lang="nl-NL" err="1"/>
              <a:t>tooling</a:t>
            </a:r>
            <a:r>
              <a:rPr lang="nl-NL"/>
              <a:t> steeds meer richting Cloud-</a:t>
            </a:r>
            <a:r>
              <a:rPr lang="nl-NL" err="1"/>
              <a:t>based</a:t>
            </a:r>
            <a:r>
              <a:rPr lang="nl-NL"/>
              <a:t> applicaties gaat.</a:t>
            </a:r>
          </a:p>
          <a:p>
            <a:r>
              <a:rPr lang="nl-NL"/>
              <a:t>En het gebruik van AI neemt hierin een vlucht</a:t>
            </a:r>
          </a:p>
          <a:p>
            <a:endParaRPr lang="nl-NL"/>
          </a:p>
          <a:p>
            <a:r>
              <a:rPr lang="nl-NL"/>
              <a:t>Voorbeelden:</a:t>
            </a:r>
          </a:p>
          <a:p>
            <a:pPr marL="171450" indent="-171450">
              <a:buFontTx/>
              <a:buChar char="-"/>
            </a:pPr>
            <a:r>
              <a:rPr lang="nl-NL"/>
              <a:t>Cisco </a:t>
            </a:r>
            <a:r>
              <a:rPr lang="nl-NL" err="1"/>
              <a:t>ThousandEyes</a:t>
            </a:r>
            <a:endParaRPr lang="nl-NL"/>
          </a:p>
          <a:p>
            <a:pPr marL="171450" indent="-171450">
              <a:buFontTx/>
              <a:buChar char="-"/>
            </a:pPr>
            <a:r>
              <a:rPr lang="nl-NL"/>
              <a:t>Extreme </a:t>
            </a:r>
            <a:r>
              <a:rPr lang="nl-NL" err="1"/>
              <a:t>CloudIQ</a:t>
            </a:r>
            <a:endParaRPr lang="nl-NL"/>
          </a:p>
          <a:p>
            <a:pPr marL="171450" indent="-171450">
              <a:buFontTx/>
              <a:buChar char="-"/>
            </a:pPr>
            <a:r>
              <a:rPr lang="nl-NL" err="1"/>
              <a:t>Vmware</a:t>
            </a:r>
            <a:r>
              <a:rPr lang="nl-NL"/>
              <a:t> Aria Operations </a:t>
            </a:r>
            <a:r>
              <a:rPr lang="nl-NL" err="1"/>
              <a:t>for</a:t>
            </a:r>
            <a:r>
              <a:rPr lang="nl-NL"/>
              <a:t> Network</a:t>
            </a:r>
          </a:p>
          <a:p>
            <a:pPr marL="171450" indent="-171450">
              <a:buFontTx/>
              <a:buChar char="-"/>
            </a:pPr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2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804728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b="0" i="0" err="1">
                <a:solidFill>
                  <a:srgbClr val="374151"/>
                </a:solidFill>
                <a:effectLst/>
                <a:latin typeface="Söhne"/>
              </a:rPr>
              <a:t>Eco</a:t>
            </a:r>
            <a:r>
              <a:rPr lang="nl-NL" b="0" i="0">
                <a:solidFill>
                  <a:srgbClr val="374151"/>
                </a:solidFill>
                <a:effectLst/>
                <a:latin typeface="Söhne"/>
              </a:rPr>
              <a:t>-vriendelijke netwerken en datacenters zullen belangrijker worden, met een focus op energie-efficiëntie en hernieuwbare energiebronnen.</a:t>
            </a:r>
          </a:p>
          <a:p>
            <a:endParaRPr lang="nl-NL" b="0" i="0">
              <a:solidFill>
                <a:srgbClr val="374151"/>
              </a:solidFill>
              <a:effectLst/>
              <a:latin typeface="Söhne"/>
            </a:endParaRPr>
          </a:p>
          <a:p>
            <a:r>
              <a:rPr lang="nl-NL"/>
              <a:t>Voorbeelden</a:t>
            </a:r>
          </a:p>
          <a:p>
            <a:pPr lvl="1"/>
            <a:r>
              <a:rPr lang="nl-NL"/>
              <a:t>Uitzetten van (delen van) het Wi-Fi netwerk</a:t>
            </a:r>
          </a:p>
          <a:p>
            <a:pPr lvl="1"/>
            <a:r>
              <a:rPr lang="nl-NL"/>
              <a:t>Hergebruik van DC warmte voor andere toepassingen</a:t>
            </a:r>
          </a:p>
          <a:p>
            <a:pPr lvl="1"/>
            <a:r>
              <a:rPr lang="nl-NL"/>
              <a:t>Energie Efficiënte apparatuur</a:t>
            </a:r>
          </a:p>
          <a:p>
            <a:pPr lvl="1"/>
            <a:r>
              <a:rPr lang="nl-NL"/>
              <a:t>Virtuele meetings i.p.v. reizen met vervuilende middelen</a:t>
            </a:r>
          </a:p>
          <a:p>
            <a:pPr lvl="1"/>
            <a:r>
              <a:rPr lang="nl-NL"/>
              <a:t>Optimaliseren van operationele processen door digitalisering</a:t>
            </a:r>
          </a:p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2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308300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/>
              <a:t>SASE om op een veilige manier gebruikers aan toegang te bieden tot hun </a:t>
            </a:r>
            <a:r>
              <a:rPr lang="nl-NL" err="1"/>
              <a:t>cloud-based</a:t>
            </a:r>
            <a:r>
              <a:rPr lang="nl-NL"/>
              <a:t> omgevingen</a:t>
            </a:r>
          </a:p>
          <a:p>
            <a:r>
              <a:rPr lang="nl-NL"/>
              <a:t>Secure </a:t>
            </a:r>
            <a:r>
              <a:rPr lang="nl-NL" err="1"/>
              <a:t>connectivity</a:t>
            </a:r>
            <a:r>
              <a:rPr lang="nl-NL"/>
              <a:t> in de campus, in het datacenter en richting de </a:t>
            </a:r>
            <a:r>
              <a:rPr lang="nl-NL" err="1"/>
              <a:t>multi-cloud</a:t>
            </a:r>
            <a:endParaRPr lang="nl-NL"/>
          </a:p>
          <a:p>
            <a:r>
              <a:rPr lang="nl-NL"/>
              <a:t>Belang van inzicht, niet alleen voor operationeel beheer, maar ook voor het gebruik van de informatie uit het netwerk binnen business processen</a:t>
            </a:r>
          </a:p>
          <a:p>
            <a:r>
              <a:rPr lang="nl-NL"/>
              <a:t>En ten slotte het belang van duurzaamheid in deze tijd, waar ook IT een grote toegevoegde waarde biedt.</a:t>
            </a:r>
          </a:p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2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58950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/>
              <a:t>Veranderingen in werkwijze Enterprises</a:t>
            </a:r>
          </a:p>
          <a:p>
            <a:r>
              <a:rPr lang="nl-NL"/>
              <a:t>	locatie van data, gebruikers en applicaties</a:t>
            </a:r>
          </a:p>
          <a:p>
            <a:r>
              <a:rPr lang="nl-NL"/>
              <a:t>	Verandering van </a:t>
            </a:r>
            <a:r>
              <a:rPr lang="nl-NL" err="1"/>
              <a:t>applicatearchitectuur</a:t>
            </a:r>
            <a:r>
              <a:rPr lang="nl-NL"/>
              <a:t> zorgt ervoor dat Security- en Netwerkarchitectuur ook mee moeten veranderen</a:t>
            </a:r>
          </a:p>
          <a:p>
            <a:r>
              <a:rPr lang="nl-NL"/>
              <a:t>	Cloud diensten zoals SaaS, PaaS en IaaS veranderde de manier hoe gebruikers werken en zorgt ook voor een afname van traditionele SP netwerken</a:t>
            </a:r>
          </a:p>
          <a:p>
            <a:r>
              <a:rPr lang="nl-NL"/>
              <a:t>	Internet wordt steeds mee de primaire manier van WAN </a:t>
            </a:r>
            <a:r>
              <a:rPr lang="nl-NL" err="1"/>
              <a:t>connectivity</a:t>
            </a:r>
            <a:endParaRPr lang="nl-NL"/>
          </a:p>
          <a:p>
            <a:r>
              <a:rPr lang="nl-NL"/>
              <a:t>	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119387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/>
              <a:t>Netwerk (Connect </a:t>
            </a:r>
            <a:r>
              <a:rPr lang="nl-NL" err="1"/>
              <a:t>it</a:t>
            </a:r>
            <a:r>
              <a:rPr lang="nl-NL"/>
              <a:t>) en Security (Secure </a:t>
            </a:r>
            <a:r>
              <a:rPr lang="nl-NL" err="1"/>
              <a:t>it</a:t>
            </a:r>
            <a:r>
              <a:rPr lang="nl-NL"/>
              <a:t>) komen bij elkaar in het SASE </a:t>
            </a:r>
            <a:r>
              <a:rPr lang="nl-NL" err="1"/>
              <a:t>framework</a:t>
            </a:r>
            <a:endParaRPr lang="nl-NL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/>
              <a:t>SASE werd voor het eerst genoemd in een </a:t>
            </a:r>
            <a:r>
              <a:rPr lang="nl-NL" err="1"/>
              <a:t>een</a:t>
            </a:r>
            <a:r>
              <a:rPr lang="nl-NL"/>
              <a:t> Gartner rapport uit 2019: </a:t>
            </a:r>
            <a:r>
              <a:rPr lang="en-US"/>
              <a:t>The Future of Network Security Is in the Cloud</a:t>
            </a:r>
          </a:p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364923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/>
              <a:t>Ik pak nog even het ‘oude’ plaatje erbij</a:t>
            </a:r>
          </a:p>
          <a:p>
            <a:endParaRPr lang="nl-NL"/>
          </a:p>
          <a:p>
            <a:r>
              <a:rPr lang="nl-NL"/>
              <a:t>SASE is niet iets nieuws, maar een </a:t>
            </a:r>
            <a:r>
              <a:rPr lang="nl-NL" err="1"/>
              <a:t>framework</a:t>
            </a:r>
            <a:r>
              <a:rPr lang="nl-NL"/>
              <a:t> met oplossingen die de </a:t>
            </a:r>
            <a:r>
              <a:rPr lang="nl-NL" err="1"/>
              <a:t>NoBAN</a:t>
            </a:r>
            <a:r>
              <a:rPr lang="nl-NL"/>
              <a:t>/Cloud </a:t>
            </a:r>
            <a:r>
              <a:rPr lang="nl-NL" err="1"/>
              <a:t>Fabric</a:t>
            </a:r>
            <a:r>
              <a:rPr lang="nl-NL"/>
              <a:t> visie mogelijk maakt. </a:t>
            </a:r>
          </a:p>
          <a:p>
            <a:r>
              <a:rPr lang="nl-NL"/>
              <a:t>Met name gericht op data en </a:t>
            </a:r>
            <a:r>
              <a:rPr lang="nl-NL" err="1"/>
              <a:t>workloads</a:t>
            </a:r>
            <a:r>
              <a:rPr lang="nl-NL"/>
              <a:t> in Cloud-native omgevingen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381683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/>
              <a:t>Punten om te benoemen:</a:t>
            </a:r>
          </a:p>
          <a:p>
            <a:pPr marL="171450" indent="-171450">
              <a:buFontTx/>
              <a:buChar char="-"/>
            </a:pPr>
            <a:r>
              <a:rPr lang="nl-NL"/>
              <a:t>Wi-Fi en 5G tegenover elkaar of aanvullend?</a:t>
            </a:r>
          </a:p>
          <a:p>
            <a:pPr marL="171450" indent="-171450">
              <a:buFontTx/>
              <a:buChar char="-"/>
            </a:pPr>
            <a:r>
              <a:rPr lang="nl-NL"/>
              <a:t>Voor beide technologieën verschillende </a:t>
            </a:r>
            <a:r>
              <a:rPr lang="nl-NL" err="1"/>
              <a:t>use</a:t>
            </a:r>
            <a:r>
              <a:rPr lang="nl-NL"/>
              <a:t> cases</a:t>
            </a:r>
          </a:p>
          <a:p>
            <a:endParaRPr lang="nl-NL"/>
          </a:p>
          <a:p>
            <a:r>
              <a:rPr lang="nl-NL"/>
              <a:t>Private-5G</a:t>
            </a:r>
          </a:p>
          <a:p>
            <a:pPr marL="171450" indent="-171450">
              <a:buFontTx/>
              <a:buChar char="-"/>
            </a:pPr>
            <a:r>
              <a:rPr lang="nl-NL"/>
              <a:t>Grote cellen, mission </a:t>
            </a:r>
            <a:r>
              <a:rPr lang="nl-NL" err="1"/>
              <a:t>critical</a:t>
            </a:r>
            <a:r>
              <a:rPr lang="nl-NL"/>
              <a:t> (</a:t>
            </a:r>
            <a:r>
              <a:rPr lang="nl-NL" err="1"/>
              <a:t>gelicenseerde</a:t>
            </a:r>
            <a:r>
              <a:rPr lang="nl-NL"/>
              <a:t> frequentiebanden) </a:t>
            </a:r>
          </a:p>
          <a:p>
            <a:pPr marL="171450" indent="-171450">
              <a:buFontTx/>
              <a:buChar char="-"/>
            </a:pPr>
            <a:r>
              <a:rPr lang="nl-NL" err="1"/>
              <a:t>IoT</a:t>
            </a:r>
            <a:r>
              <a:rPr lang="nl-NL"/>
              <a:t>, Industriële omgevingen</a:t>
            </a:r>
          </a:p>
          <a:p>
            <a:pPr marL="171450" indent="-171450">
              <a:buFontTx/>
              <a:buChar char="-"/>
            </a:pPr>
            <a:endParaRPr lang="nl-NL"/>
          </a:p>
          <a:p>
            <a:pPr marL="0" indent="0">
              <a:buFontTx/>
              <a:buNone/>
            </a:pPr>
            <a:r>
              <a:rPr lang="nl-NL"/>
              <a:t>Wi-Fi</a:t>
            </a:r>
          </a:p>
          <a:p>
            <a:pPr marL="171450" indent="-171450">
              <a:buFontTx/>
              <a:buChar char="-"/>
            </a:pPr>
            <a:r>
              <a:rPr lang="nl-NL"/>
              <a:t>Kleinere cellen. Zeker bij gebruik van de 6GHz band</a:t>
            </a:r>
          </a:p>
          <a:p>
            <a:pPr marL="171450" indent="-171450">
              <a:buFontTx/>
              <a:buChar char="-"/>
            </a:pPr>
            <a:r>
              <a:rPr lang="nl-NL"/>
              <a:t>Interferentie mogelijk door gebruik van ‘open’ frequentie</a:t>
            </a:r>
          </a:p>
          <a:p>
            <a:pPr marL="171450" indent="-171450">
              <a:buFontTx/>
              <a:buChar char="-"/>
            </a:pPr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109670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/>
              <a:t>Opvolger van Wi-Fi 6</a:t>
            </a:r>
            <a:r>
              <a:rPr lang="nl-NL" baseline="30000"/>
              <a:t>E</a:t>
            </a:r>
            <a:r>
              <a:rPr lang="nl-NL"/>
              <a:t> </a:t>
            </a:r>
            <a:r>
              <a:rPr lang="nl-NL">
                <a:sym typeface="Wingdings" panose="05000000000000000000" pitchFamily="2" charset="2"/>
              </a:rPr>
              <a:t> Wi-Fi 7</a:t>
            </a:r>
          </a:p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3494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err="1"/>
              <a:t>Use</a:t>
            </a:r>
            <a:r>
              <a:rPr lang="nl-NL"/>
              <a:t>-cases van de huidige Wi-Fi generaties </a:t>
            </a:r>
          </a:p>
          <a:p>
            <a:pPr marL="171450" indent="-171450">
              <a:buFontTx/>
              <a:buChar char="-"/>
            </a:pPr>
            <a:r>
              <a:rPr lang="nl-NL"/>
              <a:t>Asset tracking</a:t>
            </a:r>
          </a:p>
          <a:p>
            <a:pPr marL="171450" indent="-171450">
              <a:buFontTx/>
              <a:buChar char="-"/>
            </a:pPr>
            <a:r>
              <a:rPr lang="nl-NL" err="1"/>
              <a:t>Crowd</a:t>
            </a:r>
            <a:r>
              <a:rPr lang="nl-NL"/>
              <a:t> control</a:t>
            </a:r>
          </a:p>
          <a:p>
            <a:pPr marL="171450" indent="-171450">
              <a:buFontTx/>
              <a:buChar char="-"/>
            </a:pPr>
            <a:r>
              <a:rPr lang="nl-NL"/>
              <a:t>Koppelingen met </a:t>
            </a:r>
            <a:r>
              <a:rPr lang="nl-NL" err="1"/>
              <a:t>IoT</a:t>
            </a:r>
            <a:r>
              <a:rPr lang="nl-NL"/>
              <a:t> sensoren</a:t>
            </a:r>
          </a:p>
          <a:p>
            <a:endParaRPr lang="nl-NL"/>
          </a:p>
          <a:p>
            <a:r>
              <a:rPr lang="nl-NL"/>
              <a:t>en wat de nieuwe standaarden ons naar de toekomst gaan bieden</a:t>
            </a:r>
          </a:p>
          <a:p>
            <a:pPr marL="171450" indent="-171450">
              <a:buFontTx/>
              <a:buChar char="-"/>
            </a:pPr>
            <a:r>
              <a:rPr lang="nl-NL"/>
              <a:t>Hogere snelheden wat steeds meer mogelijkheden biedt voor VR en AR</a:t>
            </a:r>
          </a:p>
          <a:p>
            <a:pPr marL="171450" indent="-171450">
              <a:buFontTx/>
              <a:buChar char="-"/>
            </a:pPr>
            <a:r>
              <a:rPr lang="nl-NL"/>
              <a:t>Beveiliging</a:t>
            </a:r>
          </a:p>
          <a:p>
            <a:pPr marL="171450" indent="-171450">
              <a:buFontTx/>
              <a:buChar char="-"/>
            </a:pPr>
            <a:r>
              <a:rPr lang="nl-NL"/>
              <a:t>Echt </a:t>
            </a:r>
            <a:r>
              <a:rPr lang="nl-NL" err="1"/>
              <a:t>any-place</a:t>
            </a:r>
            <a:r>
              <a:rPr lang="nl-NL"/>
              <a:t> werken</a:t>
            </a:r>
          </a:p>
          <a:p>
            <a:pPr marL="171450" indent="-171450">
              <a:buFontTx/>
              <a:buChar char="-"/>
            </a:pPr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57634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200">
                <a:solidFill>
                  <a:schemeClr val="tx1"/>
                </a:solidFill>
              </a:rPr>
              <a:t>Zero Tru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>
                <a:solidFill>
                  <a:schemeClr val="tx1"/>
                </a:solidFill>
              </a:rPr>
              <a:t>Zero Trust Network Acces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>
                <a:solidFill>
                  <a:schemeClr val="tx1"/>
                </a:solidFill>
              </a:rPr>
              <a:t>I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>
                <a:solidFill>
                  <a:schemeClr val="tx1"/>
                </a:solidFill>
              </a:rPr>
              <a:t>Macro/Micro Segmentat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>
                <a:solidFill>
                  <a:schemeClr val="tx1"/>
                </a:solidFill>
              </a:rPr>
              <a:t>Geavanceerde beveiligingsanaly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>
                <a:solidFill>
                  <a:schemeClr val="tx1"/>
                </a:solidFill>
              </a:rPr>
              <a:t>End-</a:t>
            </a:r>
            <a:r>
              <a:rPr lang="nl-NL" sz="1200" err="1">
                <a:solidFill>
                  <a:schemeClr val="tx1"/>
                </a:solidFill>
              </a:rPr>
              <a:t>to</a:t>
            </a:r>
            <a:r>
              <a:rPr lang="nl-NL" sz="1200">
                <a:solidFill>
                  <a:schemeClr val="tx1"/>
                </a:solidFill>
              </a:rPr>
              <a:t>-end versleute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200">
                <a:solidFill>
                  <a:schemeClr val="tx1"/>
                </a:solidFill>
              </a:rPr>
              <a:t>Continue monitoring en audit</a:t>
            </a:r>
          </a:p>
          <a:p>
            <a:endParaRPr lang="nl-NL" sz="1200">
              <a:solidFill>
                <a:schemeClr val="tx1"/>
              </a:solidFill>
            </a:endParaRPr>
          </a:p>
          <a:p>
            <a:r>
              <a:rPr lang="nl-NL" sz="1200" b="1" err="1">
                <a:solidFill>
                  <a:schemeClr val="tx1"/>
                </a:solidFill>
              </a:rPr>
              <a:t>Intent-based</a:t>
            </a:r>
            <a:r>
              <a:rPr lang="nl-NL" sz="1200" b="1">
                <a:solidFill>
                  <a:schemeClr val="tx1"/>
                </a:solidFill>
              </a:rPr>
              <a:t> Networking</a:t>
            </a:r>
          </a:p>
          <a:p>
            <a:r>
              <a:rPr lang="nl-NL" b="1"/>
              <a:t>Vertaling en validatie</a:t>
            </a:r>
            <a:r>
              <a:rPr lang="nl-NL"/>
              <a:t>. Het totale systeem neemt de high-level policy van een businessdoel/gebruiker en vertaalt dit naar de benodigde configuratie op de infrastructuur. Deze wordt vervolgens door het systeem zelf gevalideerd tegen de vooraf bepaalde regels (</a:t>
            </a:r>
            <a:r>
              <a:rPr lang="nl-NL" err="1"/>
              <a:t>compliancy</a:t>
            </a:r>
            <a:r>
              <a:rPr lang="nl-NL"/>
              <a:t>);</a:t>
            </a:r>
          </a:p>
          <a:p>
            <a:r>
              <a:rPr lang="nl-NL" b="1"/>
              <a:t>Automatische implementatie</a:t>
            </a:r>
            <a:r>
              <a:rPr lang="nl-NL"/>
              <a:t>. Na goedkeuring configureert het systeem geautomatiseerd de netwerkinfrastructuur. Dit met behulp van Software </a:t>
            </a:r>
            <a:r>
              <a:rPr lang="nl-NL" err="1"/>
              <a:t>Defined</a:t>
            </a:r>
            <a:r>
              <a:rPr lang="nl-NL"/>
              <a:t> Networking of </a:t>
            </a:r>
            <a:r>
              <a:rPr lang="nl-NL" err="1"/>
              <a:t>orchestration</a:t>
            </a:r>
            <a:r>
              <a:rPr lang="nl-NL"/>
              <a:t> mogelijkheden;</a:t>
            </a:r>
          </a:p>
          <a:p>
            <a:r>
              <a:rPr lang="nl-NL" b="1"/>
              <a:t>Bewustzijn van netwerkstatus</a:t>
            </a:r>
            <a:r>
              <a:rPr lang="nl-NL"/>
              <a:t>. Het systeem houdt real-time de status van het netwerk en gebruikers bij;</a:t>
            </a:r>
          </a:p>
          <a:p>
            <a:r>
              <a:rPr lang="nl-NL" b="1"/>
              <a:t>Dynamische optimalisatie</a:t>
            </a:r>
            <a:r>
              <a:rPr lang="nl-NL"/>
              <a:t>. Het systeem valideert constant of het gebruik van het netwerk blijft voldoen aan de originele policy voor een gebruiker/businessdoel en stuurt bij indien nodig. Dit door bijvoorbeeld verkeer te blokkeren (in geval van een virusuitbraak), capaciteit aan te passen of een notificatie naar beheerders te sture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1200">
              <a:solidFill>
                <a:schemeClr val="tx1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nl-NL" sz="1200">
                <a:solidFill>
                  <a:schemeClr val="tx1"/>
                </a:solidFill>
              </a:rPr>
              <a:t>AI en ML is hierin onmisbaar</a:t>
            </a:r>
          </a:p>
          <a:p>
            <a:pPr marL="171450" indent="-171450">
              <a:buFontTx/>
              <a:buChar char="-"/>
            </a:pPr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015649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err="1"/>
              <a:t>IoT</a:t>
            </a:r>
            <a:r>
              <a:rPr lang="nl-NL"/>
              <a:t>/</a:t>
            </a:r>
            <a:r>
              <a:rPr lang="nl-NL" err="1"/>
              <a:t>IoMT</a:t>
            </a:r>
            <a:r>
              <a:rPr lang="nl-NL"/>
              <a:t> &amp; Industriële infrastructuren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FF19BC-0128-CB4A-9143-72842B9BB2C7}" type="slidenum">
              <a:rPr lang="nl-NL" smtClean="0"/>
              <a:t>1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732098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10" Type="http://schemas.openxmlformats.org/officeDocument/2006/relationships/image" Target="../media/image22.png"/><Relationship Id="rId4" Type="http://schemas.openxmlformats.org/officeDocument/2006/relationships/image" Target="../media/image16.jpeg"/><Relationship Id="rId9" Type="http://schemas.openxmlformats.org/officeDocument/2006/relationships/image" Target="../media/image21.jpe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3.svg"/><Relationship Id="rId4" Type="http://schemas.openxmlformats.org/officeDocument/2006/relationships/image" Target="../media/image32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sv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sv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6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6.svg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6.svg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.bin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sv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sv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6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svg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piresessions dia 1">
    <p:bg>
      <p:bgPr>
        <a:gradFill>
          <a:gsLst>
            <a:gs pos="0">
              <a:srgbClr val="048BEC"/>
            </a:gs>
            <a:gs pos="100000">
              <a:srgbClr val="05419B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5AF393CC-D947-3BEC-01AA-9F154BECFC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585530" y="870765"/>
            <a:ext cx="4914260" cy="4922520"/>
          </a:xfrm>
          <a:prstGeom prst="rect">
            <a:avLst/>
          </a:prstGeom>
        </p:spPr>
      </p:pic>
      <p:sp>
        <p:nvSpPr>
          <p:cNvPr id="16" name="Tijdelijke aanduiding voor datum 15">
            <a:extLst>
              <a:ext uri="{FF2B5EF4-FFF2-40B4-BE49-F238E27FC236}">
                <a16:creationId xmlns:a16="http://schemas.microsoft.com/office/drawing/2014/main" id="{BF7C881E-55CD-C7E9-76D1-D34E0F649C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17" name="Tijdelijke aanduiding voor voettekst 16">
            <a:extLst>
              <a:ext uri="{FF2B5EF4-FFF2-40B4-BE49-F238E27FC236}">
                <a16:creationId xmlns:a16="http://schemas.microsoft.com/office/drawing/2014/main" id="{D8937D95-6999-4CBD-8E73-EEC3716B0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18" name="Tijdelijke aanduiding voor dianummer 17">
            <a:extLst>
              <a:ext uri="{FF2B5EF4-FFF2-40B4-BE49-F238E27FC236}">
                <a16:creationId xmlns:a16="http://schemas.microsoft.com/office/drawing/2014/main" id="{678BB510-F3BD-4008-2C48-8197B4E0DD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69898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ussen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>
            <a:extLst>
              <a:ext uri="{FF2B5EF4-FFF2-40B4-BE49-F238E27FC236}">
                <a16:creationId xmlns:a16="http://schemas.microsoft.com/office/drawing/2014/main" id="{3A083209-980C-57A6-08E0-485589EC22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-1854967"/>
            <a:ext cx="12296775" cy="9222582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519A69CB-BA9E-1166-022D-71A84515FD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459690" y="1510975"/>
            <a:ext cx="2798931" cy="2300816"/>
          </a:xfrm>
          <a:prstGeom prst="rect">
            <a:avLst/>
          </a:prstGeom>
          <a:effectLst>
            <a:outerShdw blurRad="308211" dist="38100" dir="2700000" algn="tl" rotWithShape="0">
              <a:prstClr val="black"/>
            </a:outerShdw>
          </a:effectLst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F0C5A26-0021-CDCF-A3F1-DE392CB0F41A}"/>
              </a:ext>
            </a:extLst>
          </p:cNvPr>
          <p:cNvSpPr txBox="1">
            <a:spLocks/>
          </p:cNvSpPr>
          <p:nvPr userDrawn="1"/>
        </p:nvSpPr>
        <p:spPr>
          <a:xfrm>
            <a:off x="3841290" y="3274422"/>
            <a:ext cx="3999291" cy="2622963"/>
          </a:xfrm>
          <a:prstGeom prst="rect">
            <a:avLst/>
          </a:prstGeom>
          <a:effectLst>
            <a:outerShdw blurRad="308211" dist="38100" dir="2700000" algn="tl" rotWithShape="0">
              <a:prstClr val="black"/>
            </a:outerShdw>
          </a:effectLst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MANAGED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SERVICES</a:t>
            </a: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8941BE46-492C-93AF-D995-1610584579C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290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rogramma - algem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6B7C5CFF-B4E2-FA60-2E7D-125D35923E44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0">
                <a:srgbClr val="048BEC"/>
              </a:gs>
              <a:gs pos="100000">
                <a:srgbClr val="05419B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Programma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99920"/>
            <a:ext cx="7677500" cy="4142106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Tijd		Programma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CDDD98BD-F5BF-AB61-1249-52700658AF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0103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rekers - algem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6B7C5CFF-B4E2-FA60-2E7D-125D35923E44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0">
                <a:srgbClr val="048BEC"/>
              </a:gs>
              <a:gs pos="100000">
                <a:srgbClr val="05419B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Spreker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8473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3C4B4E01-24C6-5217-0061-541FD1C94EE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983351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8" name="Tijdelijke aanduiding voor inhoud 2">
            <a:extLst>
              <a:ext uri="{FF2B5EF4-FFF2-40B4-BE49-F238E27FC236}">
                <a16:creationId xmlns:a16="http://schemas.microsoft.com/office/drawing/2014/main" id="{EB88F9E6-68F6-0FBC-BEDE-67B64704A644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915931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04080E34-22F7-5793-7EF1-9814BA400502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3020809" y="2014050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834451D8-BF02-9EAB-60FD-94EA2CB7D4F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938320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C6B7A7B9-A890-019C-94C3-F5BA5DD79EE3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5043198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6" name="Tijdelijke aanduiding voor inhoud 2">
            <a:extLst>
              <a:ext uri="{FF2B5EF4-FFF2-40B4-BE49-F238E27FC236}">
                <a16:creationId xmlns:a16="http://schemas.microsoft.com/office/drawing/2014/main" id="{F408E156-7BD5-F134-A624-24B82A04694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05675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0C1BE875-2361-F0F4-27D2-7286759BD899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1010553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8" name="Tijdelijke aanduiding voor inhoud 2">
            <a:extLst>
              <a:ext uri="{FF2B5EF4-FFF2-40B4-BE49-F238E27FC236}">
                <a16:creationId xmlns:a16="http://schemas.microsoft.com/office/drawing/2014/main" id="{BF8CBE19-6C01-65F9-02F1-E04920577FA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2943133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1" name="Afbeelding 20">
            <a:extLst>
              <a:ext uri="{FF2B5EF4-FFF2-40B4-BE49-F238E27FC236}">
                <a16:creationId xmlns:a16="http://schemas.microsoft.com/office/drawing/2014/main" id="{829AB1C7-614F-B5DF-77A0-CF934318CCBA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3048011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22" name="Tijdelijke aanduiding voor inhoud 2">
            <a:extLst>
              <a:ext uri="{FF2B5EF4-FFF2-40B4-BE49-F238E27FC236}">
                <a16:creationId xmlns:a16="http://schemas.microsoft.com/office/drawing/2014/main" id="{A66AAF56-1990-9774-676C-A373ED60F34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965522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3" name="Afbeelding 22">
            <a:extLst>
              <a:ext uri="{FF2B5EF4-FFF2-40B4-BE49-F238E27FC236}">
                <a16:creationId xmlns:a16="http://schemas.microsoft.com/office/drawing/2014/main" id="{6F2ECFF8-ED8B-86C9-2491-D9AAF3A5C68A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5070400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B64B0E03-1E65-B67A-FEED-E819C40107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13872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dia_algem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Afbeelding 12">
            <a:extLst>
              <a:ext uri="{FF2B5EF4-FFF2-40B4-BE49-F238E27FC236}">
                <a16:creationId xmlns:a16="http://schemas.microsoft.com/office/drawing/2014/main" id="{6317AD95-9ACE-A387-3C91-44EB28E5D72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019137"/>
            <a:ext cx="12283439" cy="8172247"/>
          </a:xfrm>
          <a:prstGeom prst="rect">
            <a:avLst/>
          </a:prstGeom>
        </p:spPr>
      </p:pic>
      <p:sp>
        <p:nvSpPr>
          <p:cNvPr id="2" name="Rechthoek 1">
            <a:extLst>
              <a:ext uri="{FF2B5EF4-FFF2-40B4-BE49-F238E27FC236}">
                <a16:creationId xmlns:a16="http://schemas.microsoft.com/office/drawing/2014/main" id="{28BA5EA1-2CEC-6318-5117-3DB0C4D72ADE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0">
                <a:srgbClr val="048BEC">
                  <a:lumMod val="100000"/>
                  <a:alpha val="32218"/>
                </a:srgbClr>
              </a:gs>
              <a:gs pos="100000">
                <a:srgbClr val="05419B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Ondertitel 2">
            <a:extLst>
              <a:ext uri="{FF2B5EF4-FFF2-40B4-BE49-F238E27FC236}">
                <a16:creationId xmlns:a16="http://schemas.microsoft.com/office/drawing/2014/main" id="{EA0510F9-1564-1BAA-BA4F-D78C0BA3A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9192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Sub-beschrijving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CE2F847-7D6F-BC32-4310-A3F85D3952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396480" cy="2387600"/>
          </a:xfrm>
        </p:spPr>
        <p:txBody>
          <a:bodyPr anchor="b">
            <a:noAutofit/>
          </a:bodyPr>
          <a:lstStyle>
            <a:lvl1pPr algn="l">
              <a:lnSpc>
                <a:spcPts val="6220"/>
              </a:lnSpc>
              <a:defRPr sz="6600" b="0" i="0">
                <a:solidFill>
                  <a:schemeClr val="bg1"/>
                </a:solidFill>
                <a:latin typeface="IBM Plex Sans Medium" panose="020B0503050203000203" pitchFamily="34" charset="0"/>
              </a:defRPr>
            </a:lvl1pPr>
          </a:lstStyle>
          <a:p>
            <a:r>
              <a:rPr lang="nl-NL"/>
              <a:t>Hoofstuk onderwerp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A82CFA83-800B-C446-E032-73CBC1BCE23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457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7" grpId="0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ussendia_algem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Mark Tuitert - Allyourmedia">
            <a:extLst>
              <a:ext uri="{FF2B5EF4-FFF2-40B4-BE49-F238E27FC236}">
                <a16:creationId xmlns:a16="http://schemas.microsoft.com/office/drawing/2014/main" id="{364CB78B-936B-26D8-153C-AA1CA81F27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91" r="3031"/>
          <a:stretch/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hoek 1">
            <a:extLst>
              <a:ext uri="{FF2B5EF4-FFF2-40B4-BE49-F238E27FC236}">
                <a16:creationId xmlns:a16="http://schemas.microsoft.com/office/drawing/2014/main" id="{28BA5EA1-2CEC-6318-5117-3DB0C4D72ADE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0">
                <a:srgbClr val="048BEC">
                  <a:lumMod val="100000"/>
                  <a:alpha val="32218"/>
                </a:srgbClr>
              </a:gs>
              <a:gs pos="100000">
                <a:srgbClr val="05419B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Ondertitel 2">
            <a:extLst>
              <a:ext uri="{FF2B5EF4-FFF2-40B4-BE49-F238E27FC236}">
                <a16:creationId xmlns:a16="http://schemas.microsoft.com/office/drawing/2014/main" id="{EA0510F9-1564-1BAA-BA4F-D78C0BA3A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9192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Sub-beschrijving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CE2F847-7D6F-BC32-4310-A3F85D3952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396480" cy="2387600"/>
          </a:xfrm>
        </p:spPr>
        <p:txBody>
          <a:bodyPr anchor="b">
            <a:noAutofit/>
          </a:bodyPr>
          <a:lstStyle>
            <a:lvl1pPr algn="l">
              <a:lnSpc>
                <a:spcPts val="6220"/>
              </a:lnSpc>
              <a:defRPr sz="6600" b="0" i="0">
                <a:solidFill>
                  <a:schemeClr val="bg1"/>
                </a:solidFill>
                <a:latin typeface="IBM Plex Sans Medium" panose="020B0503050203000203" pitchFamily="34" charset="0"/>
              </a:defRPr>
            </a:lvl1pPr>
          </a:lstStyle>
          <a:p>
            <a:r>
              <a:rPr lang="nl-NL"/>
              <a:t>Hoofstuk onderwerp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A82CFA83-800B-C446-E032-73CBC1BCE23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005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7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rogramma - hyb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6B7C5CFF-B4E2-FA60-2E7D-125D35923E44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6559A2"/>
              </a:gs>
              <a:gs pos="7000">
                <a:srgbClr val="E9455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Programma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99920"/>
            <a:ext cx="7677500" cy="4142106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Tijd		Programma</a:t>
            </a:r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519A69CB-BA9E-1166-022D-71A84515FD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07611" y="540898"/>
            <a:ext cx="1892478" cy="1977725"/>
          </a:xfrm>
          <a:prstGeom prst="rect">
            <a:avLst/>
          </a:prstGeom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F0C5A26-0021-CDCF-A3F1-DE392CB0F41A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129280" cy="177349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HYBRID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CLOUD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174F61E5-AA4F-E7A2-3739-61AF1DE281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96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rekers - hyb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>
            <a:extLst>
              <a:ext uri="{FF2B5EF4-FFF2-40B4-BE49-F238E27FC236}">
                <a16:creationId xmlns:a16="http://schemas.microsoft.com/office/drawing/2014/main" id="{A8837809-219F-0798-9054-0653E038B9EC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6559A2"/>
              </a:gs>
              <a:gs pos="7000">
                <a:srgbClr val="E94554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Spreker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8473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519A69CB-BA9E-1166-022D-71A84515FD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07611" y="540898"/>
            <a:ext cx="1892478" cy="1977725"/>
          </a:xfrm>
          <a:prstGeom prst="rect">
            <a:avLst/>
          </a:prstGeom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F0C5A26-0021-CDCF-A3F1-DE392CB0F41A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129280" cy="177349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HYBRID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CLOUD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3C4B4E01-24C6-5217-0061-541FD1C94EE8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14888" r="17919"/>
          <a:stretch/>
        </p:blipFill>
        <p:spPr>
          <a:xfrm>
            <a:off x="983351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8" name="Tijdelijke aanduiding voor inhoud 2">
            <a:extLst>
              <a:ext uri="{FF2B5EF4-FFF2-40B4-BE49-F238E27FC236}">
                <a16:creationId xmlns:a16="http://schemas.microsoft.com/office/drawing/2014/main" id="{EB88F9E6-68F6-0FBC-BEDE-67B64704A644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915931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04080E34-22F7-5793-7EF1-9814BA400502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14888" r="17919"/>
          <a:stretch/>
        </p:blipFill>
        <p:spPr>
          <a:xfrm>
            <a:off x="3020809" y="2014050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834451D8-BF02-9EAB-60FD-94EA2CB7D4F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938320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C6B7A7B9-A890-019C-94C3-F5BA5DD79EE3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14888" r="17919"/>
          <a:stretch/>
        </p:blipFill>
        <p:spPr>
          <a:xfrm>
            <a:off x="5043198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6" name="Tijdelijke aanduiding voor inhoud 2">
            <a:extLst>
              <a:ext uri="{FF2B5EF4-FFF2-40B4-BE49-F238E27FC236}">
                <a16:creationId xmlns:a16="http://schemas.microsoft.com/office/drawing/2014/main" id="{F408E156-7BD5-F134-A624-24B82A04694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05675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0C1BE875-2361-F0F4-27D2-7286759BD899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14888" r="17919"/>
          <a:stretch/>
        </p:blipFill>
        <p:spPr>
          <a:xfrm>
            <a:off x="1010553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8" name="Tijdelijke aanduiding voor inhoud 2">
            <a:extLst>
              <a:ext uri="{FF2B5EF4-FFF2-40B4-BE49-F238E27FC236}">
                <a16:creationId xmlns:a16="http://schemas.microsoft.com/office/drawing/2014/main" id="{BF8CBE19-6C01-65F9-02F1-E04920577FA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2943133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1" name="Afbeelding 20">
            <a:extLst>
              <a:ext uri="{FF2B5EF4-FFF2-40B4-BE49-F238E27FC236}">
                <a16:creationId xmlns:a16="http://schemas.microsoft.com/office/drawing/2014/main" id="{829AB1C7-614F-B5DF-77A0-CF934318CCBA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14888" r="17919"/>
          <a:stretch/>
        </p:blipFill>
        <p:spPr>
          <a:xfrm>
            <a:off x="3048011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22" name="Tijdelijke aanduiding voor inhoud 2">
            <a:extLst>
              <a:ext uri="{FF2B5EF4-FFF2-40B4-BE49-F238E27FC236}">
                <a16:creationId xmlns:a16="http://schemas.microsoft.com/office/drawing/2014/main" id="{A66AAF56-1990-9774-676C-A373ED60F34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965522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3" name="Afbeelding 22">
            <a:extLst>
              <a:ext uri="{FF2B5EF4-FFF2-40B4-BE49-F238E27FC236}">
                <a16:creationId xmlns:a16="http://schemas.microsoft.com/office/drawing/2014/main" id="{6F2ECFF8-ED8B-86C9-2491-D9AAF3A5C68A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14888" r="17919"/>
          <a:stretch/>
        </p:blipFill>
        <p:spPr>
          <a:xfrm>
            <a:off x="5070400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C689A3E8-8747-D557-8851-800285D2214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575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dia_hyb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>
            <a:extLst>
              <a:ext uri="{FF2B5EF4-FFF2-40B4-BE49-F238E27FC236}">
                <a16:creationId xmlns:a16="http://schemas.microsoft.com/office/drawing/2014/main" id="{381E89DD-DE0E-841B-277E-56CF8F6FB5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01586"/>
            <a:ext cx="12273280" cy="8165488"/>
          </a:xfrm>
          <a:prstGeom prst="rect">
            <a:avLst/>
          </a:prstGeom>
        </p:spPr>
      </p:pic>
      <p:sp>
        <p:nvSpPr>
          <p:cNvPr id="10" name="Rechthoek 9">
            <a:extLst>
              <a:ext uri="{FF2B5EF4-FFF2-40B4-BE49-F238E27FC236}">
                <a16:creationId xmlns:a16="http://schemas.microsoft.com/office/drawing/2014/main" id="{CC4BE0C9-5FE8-7569-7DED-842A224E4C0A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6559A2"/>
              </a:gs>
              <a:gs pos="0">
                <a:srgbClr val="E94554">
                  <a:alpha val="48000"/>
                </a:srgb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4DBB5A55-6753-0D5D-4071-C174483250A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07611" y="540898"/>
            <a:ext cx="1892478" cy="1977725"/>
          </a:xfrm>
          <a:prstGeom prst="rect">
            <a:avLst/>
          </a:prstGeom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83568134-BF5B-CB83-992C-1625E0A4CDFE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129280" cy="177349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HYBRID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CLOUD</a:t>
            </a:r>
          </a:p>
        </p:txBody>
      </p:sp>
      <p:sp>
        <p:nvSpPr>
          <p:cNvPr id="6" name="Ondertitel 2">
            <a:extLst>
              <a:ext uri="{FF2B5EF4-FFF2-40B4-BE49-F238E27FC236}">
                <a16:creationId xmlns:a16="http://schemas.microsoft.com/office/drawing/2014/main" id="{EA0510F9-1564-1BAA-BA4F-D78C0BA3A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3096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rgbClr val="05419B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Sub-beschrijving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CE2F847-7D6F-BC32-4310-A3F85D3952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026450" cy="2387600"/>
          </a:xfrm>
        </p:spPr>
        <p:txBody>
          <a:bodyPr anchor="b">
            <a:noAutofit/>
          </a:bodyPr>
          <a:lstStyle>
            <a:lvl1pPr algn="l">
              <a:lnSpc>
                <a:spcPts val="6220"/>
              </a:lnSpc>
              <a:defRPr sz="6600" b="0" i="0">
                <a:solidFill>
                  <a:srgbClr val="05419B"/>
                </a:solidFill>
                <a:latin typeface="IBM Plex Sans Medium" panose="020B0503050203000203" pitchFamily="34" charset="0"/>
              </a:defRPr>
            </a:lvl1pPr>
          </a:lstStyle>
          <a:p>
            <a:r>
              <a:rPr lang="nl-NL"/>
              <a:t>Hoofstuk onderwerp</a:t>
            </a: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603224EE-47F0-DA24-E29E-3700ACA9995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3755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7" grpId="0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rogramma - cy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6B7C5CFF-B4E2-FA60-2E7D-125D35923E44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2FC0B2"/>
              </a:gs>
              <a:gs pos="7000">
                <a:srgbClr val="6559A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Programma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99920"/>
            <a:ext cx="7677500" cy="4142106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Tijd		Programma</a:t>
            </a:r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519A69CB-BA9E-1166-022D-71A84515FD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587482" y="540898"/>
            <a:ext cx="1532736" cy="1977725"/>
          </a:xfrm>
          <a:prstGeom prst="rect">
            <a:avLst/>
          </a:prstGeom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F0C5A26-0021-CDCF-A3F1-DE392CB0F41A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129280" cy="177349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CYBER-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SECURITY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174F61E5-AA4F-E7A2-3739-61AF1DE281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39779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rekers - cy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Spreker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8473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3C4B4E01-24C6-5217-0061-541FD1C94EE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983351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8" name="Tijdelijke aanduiding voor inhoud 2">
            <a:extLst>
              <a:ext uri="{FF2B5EF4-FFF2-40B4-BE49-F238E27FC236}">
                <a16:creationId xmlns:a16="http://schemas.microsoft.com/office/drawing/2014/main" id="{EB88F9E6-68F6-0FBC-BEDE-67B64704A644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915931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04080E34-22F7-5793-7EF1-9814BA400502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3020809" y="2014050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834451D8-BF02-9EAB-60FD-94EA2CB7D4F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938320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C6B7A7B9-A890-019C-94C3-F5BA5DD79EE3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5043198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6" name="Tijdelijke aanduiding voor inhoud 2">
            <a:extLst>
              <a:ext uri="{FF2B5EF4-FFF2-40B4-BE49-F238E27FC236}">
                <a16:creationId xmlns:a16="http://schemas.microsoft.com/office/drawing/2014/main" id="{F408E156-7BD5-F134-A624-24B82A04694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05675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0C1BE875-2361-F0F4-27D2-7286759BD899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1010553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8" name="Tijdelijke aanduiding voor inhoud 2">
            <a:extLst>
              <a:ext uri="{FF2B5EF4-FFF2-40B4-BE49-F238E27FC236}">
                <a16:creationId xmlns:a16="http://schemas.microsoft.com/office/drawing/2014/main" id="{BF8CBE19-6C01-65F9-02F1-E04920577FA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2943133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1" name="Afbeelding 20">
            <a:extLst>
              <a:ext uri="{FF2B5EF4-FFF2-40B4-BE49-F238E27FC236}">
                <a16:creationId xmlns:a16="http://schemas.microsoft.com/office/drawing/2014/main" id="{829AB1C7-614F-B5DF-77A0-CF934318CCBA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3048011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22" name="Tijdelijke aanduiding voor inhoud 2">
            <a:extLst>
              <a:ext uri="{FF2B5EF4-FFF2-40B4-BE49-F238E27FC236}">
                <a16:creationId xmlns:a16="http://schemas.microsoft.com/office/drawing/2014/main" id="{A66AAF56-1990-9774-676C-A373ED60F34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965522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3" name="Afbeelding 22">
            <a:extLst>
              <a:ext uri="{FF2B5EF4-FFF2-40B4-BE49-F238E27FC236}">
                <a16:creationId xmlns:a16="http://schemas.microsoft.com/office/drawing/2014/main" id="{6F2ECFF8-ED8B-86C9-2491-D9AAF3A5C68A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5070400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DDED3002-44AA-A447-AF79-835809A83906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2FC0B2"/>
              </a:gs>
              <a:gs pos="7000">
                <a:srgbClr val="6559A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75F2CE1D-36B8-92FB-6438-59A02AA3DB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587482" y="540898"/>
            <a:ext cx="1532736" cy="1977725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C3E41DFF-629A-99EE-8ACB-73B45BF99D8F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129280" cy="177349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CYBER-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SECURITY</a:t>
            </a:r>
          </a:p>
        </p:txBody>
      </p: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51A47D60-3DC2-4DFC-81E3-28B64D48DB2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267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kom_dia 1">
    <p:bg>
      <p:bgPr>
        <a:gradFill>
          <a:gsLst>
            <a:gs pos="0">
              <a:srgbClr val="048BEC"/>
            </a:gs>
            <a:gs pos="100000">
              <a:srgbClr val="05419B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65B49E-E01D-C8F1-6037-771B748855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396480" cy="2387600"/>
          </a:xfrm>
        </p:spPr>
        <p:txBody>
          <a:bodyPr anchor="b">
            <a:normAutofit/>
          </a:bodyPr>
          <a:lstStyle>
            <a:lvl1pPr algn="l">
              <a:defRPr sz="11500" b="0" i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nl-NL"/>
              <a:t>Welkom!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81EEC9E-86AF-C6D3-7042-8506F50B6A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LOCATIE NAAM EN PLAATS</a:t>
            </a:r>
          </a:p>
          <a:p>
            <a:r>
              <a:rPr lang="nl-NL"/>
              <a:t>DATUM VOLUIT GESCHREVEN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5AF393CC-D947-3BEC-01AA-9F154BECFC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20F8873C-0244-32C7-D3BE-58D94A71356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4494" y="540898"/>
            <a:ext cx="1516546" cy="633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3244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dia_cy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>
            <a:extLst>
              <a:ext uri="{FF2B5EF4-FFF2-40B4-BE49-F238E27FC236}">
                <a16:creationId xmlns:a16="http://schemas.microsoft.com/office/drawing/2014/main" id="{381E89DD-DE0E-841B-277E-56CF8F6FB5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01586"/>
            <a:ext cx="12273280" cy="8165488"/>
          </a:xfrm>
          <a:prstGeom prst="rect">
            <a:avLst/>
          </a:prstGeom>
        </p:spPr>
      </p:pic>
      <p:sp>
        <p:nvSpPr>
          <p:cNvPr id="6" name="Ondertitel 2">
            <a:extLst>
              <a:ext uri="{FF2B5EF4-FFF2-40B4-BE49-F238E27FC236}">
                <a16:creationId xmlns:a16="http://schemas.microsoft.com/office/drawing/2014/main" id="{EA0510F9-1564-1BAA-BA4F-D78C0BA3A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3096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rgbClr val="05419B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Sub-beschrijving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CE2F847-7D6F-BC32-4310-A3F85D3952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026450" cy="2387600"/>
          </a:xfrm>
        </p:spPr>
        <p:txBody>
          <a:bodyPr anchor="b">
            <a:noAutofit/>
          </a:bodyPr>
          <a:lstStyle>
            <a:lvl1pPr algn="l">
              <a:lnSpc>
                <a:spcPts val="6220"/>
              </a:lnSpc>
              <a:defRPr sz="6600" b="0" i="0">
                <a:solidFill>
                  <a:srgbClr val="05419B"/>
                </a:solidFill>
                <a:latin typeface="IBM Plex Sans Medium" panose="020B0503050203000203" pitchFamily="34" charset="0"/>
              </a:defRPr>
            </a:lvl1pPr>
          </a:lstStyle>
          <a:p>
            <a:r>
              <a:rPr lang="nl-NL"/>
              <a:t>Hoofstuk onderwerp</a:t>
            </a: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87074308-75B5-F8FA-7ED2-5EA57B4C52C5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2FC0B2">
                  <a:alpha val="48000"/>
                </a:srgbClr>
              </a:gs>
              <a:gs pos="7000">
                <a:srgbClr val="6559A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A491A202-0D35-FEDE-A214-A43612D2BA7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587482" y="540898"/>
            <a:ext cx="1532736" cy="1977725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E52377DF-43F7-3A3F-36B5-C7C45BABE60E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129280" cy="177349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CYBER-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SECURITY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629FCD13-6B72-AFC3-3380-62A2307A7C6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6484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7" grpId="0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rogramma - net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6B7C5CFF-B4E2-FA60-2E7D-125D35923E44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E94554"/>
              </a:gs>
              <a:gs pos="7000">
                <a:srgbClr val="FFDD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Programma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99920"/>
            <a:ext cx="7677500" cy="4142106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Tijd		Programma</a:t>
            </a:r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519A69CB-BA9E-1166-022D-71A84515FD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421494" y="540898"/>
            <a:ext cx="1864712" cy="1977725"/>
          </a:xfrm>
          <a:prstGeom prst="rect">
            <a:avLst/>
          </a:prstGeom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F0C5A26-0021-CDCF-A3F1-DE392CB0F41A}"/>
              </a:ext>
            </a:extLst>
          </p:cNvPr>
          <p:cNvSpPr txBox="1">
            <a:spLocks/>
          </p:cNvSpPr>
          <p:nvPr userDrawn="1"/>
        </p:nvSpPr>
        <p:spPr>
          <a:xfrm>
            <a:off x="8610600" y="2556742"/>
            <a:ext cx="3581400" cy="10055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4800"/>
              <a:t>NETWORK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174F61E5-AA4F-E7A2-3739-61AF1DE281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6105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rekers - net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Spreker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8473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3C4B4E01-24C6-5217-0061-541FD1C94EE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983351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8" name="Tijdelijke aanduiding voor inhoud 2">
            <a:extLst>
              <a:ext uri="{FF2B5EF4-FFF2-40B4-BE49-F238E27FC236}">
                <a16:creationId xmlns:a16="http://schemas.microsoft.com/office/drawing/2014/main" id="{EB88F9E6-68F6-0FBC-BEDE-67B64704A644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915931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04080E34-22F7-5793-7EF1-9814BA400502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3020809" y="2014050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834451D8-BF02-9EAB-60FD-94EA2CB7D4F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938320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C6B7A7B9-A890-019C-94C3-F5BA5DD79EE3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5043198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6" name="Tijdelijke aanduiding voor inhoud 2">
            <a:extLst>
              <a:ext uri="{FF2B5EF4-FFF2-40B4-BE49-F238E27FC236}">
                <a16:creationId xmlns:a16="http://schemas.microsoft.com/office/drawing/2014/main" id="{F408E156-7BD5-F134-A624-24B82A04694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05675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0C1BE875-2361-F0F4-27D2-7286759BD899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1010553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8" name="Tijdelijke aanduiding voor inhoud 2">
            <a:extLst>
              <a:ext uri="{FF2B5EF4-FFF2-40B4-BE49-F238E27FC236}">
                <a16:creationId xmlns:a16="http://schemas.microsoft.com/office/drawing/2014/main" id="{BF8CBE19-6C01-65F9-02F1-E04920577FA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2943133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1" name="Afbeelding 20">
            <a:extLst>
              <a:ext uri="{FF2B5EF4-FFF2-40B4-BE49-F238E27FC236}">
                <a16:creationId xmlns:a16="http://schemas.microsoft.com/office/drawing/2014/main" id="{829AB1C7-614F-B5DF-77A0-CF934318CCBA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3048011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22" name="Tijdelijke aanduiding voor inhoud 2">
            <a:extLst>
              <a:ext uri="{FF2B5EF4-FFF2-40B4-BE49-F238E27FC236}">
                <a16:creationId xmlns:a16="http://schemas.microsoft.com/office/drawing/2014/main" id="{A66AAF56-1990-9774-676C-A373ED60F34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965522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3" name="Afbeelding 22">
            <a:extLst>
              <a:ext uri="{FF2B5EF4-FFF2-40B4-BE49-F238E27FC236}">
                <a16:creationId xmlns:a16="http://schemas.microsoft.com/office/drawing/2014/main" id="{6F2ECFF8-ED8B-86C9-2491-D9AAF3A5C68A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5070400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18FD5D12-0AD2-62C0-A45C-FC203CFFCE33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E94554"/>
              </a:gs>
              <a:gs pos="7000">
                <a:srgbClr val="FFDD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AB7F2440-7789-9A29-6F56-0D0F741ED8C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21494" y="540898"/>
            <a:ext cx="1864712" cy="1977725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02C8F816-15BD-2ED7-DF4C-BD10847B9E9C}"/>
              </a:ext>
            </a:extLst>
          </p:cNvPr>
          <p:cNvSpPr txBox="1">
            <a:spLocks/>
          </p:cNvSpPr>
          <p:nvPr userDrawn="1"/>
        </p:nvSpPr>
        <p:spPr>
          <a:xfrm>
            <a:off x="8610600" y="2556742"/>
            <a:ext cx="3581400" cy="10055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4800"/>
              <a:t>NETWORK</a:t>
            </a:r>
          </a:p>
        </p:txBody>
      </p: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98D7414F-2FB7-470E-6C4B-796404F3408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0693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dia_net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ndertitel 2">
            <a:extLst>
              <a:ext uri="{FF2B5EF4-FFF2-40B4-BE49-F238E27FC236}">
                <a16:creationId xmlns:a16="http://schemas.microsoft.com/office/drawing/2014/main" id="{EA0510F9-1564-1BAA-BA4F-D78C0BA3A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3096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rgbClr val="05419B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Sub-beschrijving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CE2F847-7D6F-BC32-4310-A3F85D3952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026450" cy="2387600"/>
          </a:xfrm>
        </p:spPr>
        <p:txBody>
          <a:bodyPr anchor="b">
            <a:noAutofit/>
          </a:bodyPr>
          <a:lstStyle>
            <a:lvl1pPr algn="l">
              <a:lnSpc>
                <a:spcPts val="6220"/>
              </a:lnSpc>
              <a:defRPr sz="6600" b="0" i="0">
                <a:solidFill>
                  <a:srgbClr val="05419B"/>
                </a:solidFill>
                <a:latin typeface="IBM Plex Sans Medium" panose="020B0503050203000203" pitchFamily="34" charset="0"/>
              </a:defRPr>
            </a:lvl1pPr>
          </a:lstStyle>
          <a:p>
            <a:r>
              <a:rPr lang="nl-NL"/>
              <a:t>Hoofstuk onderwerp</a:t>
            </a: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D57379AE-1BA7-DF0D-46C4-FDB52595CED4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E94554">
                  <a:alpha val="48000"/>
                </a:srgbClr>
              </a:gs>
              <a:gs pos="7000">
                <a:srgbClr val="FFDD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808B42B1-4CEB-9EF1-1870-71F28B4924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421494" y="540898"/>
            <a:ext cx="1864712" cy="1977725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85B9FDA1-BA86-9168-46B9-54AC862BBC98}"/>
              </a:ext>
            </a:extLst>
          </p:cNvPr>
          <p:cNvSpPr txBox="1">
            <a:spLocks/>
          </p:cNvSpPr>
          <p:nvPr userDrawn="1"/>
        </p:nvSpPr>
        <p:spPr>
          <a:xfrm>
            <a:off x="8610600" y="2556742"/>
            <a:ext cx="3581400" cy="10055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4800"/>
              <a:t>NETWORK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37575942-7677-3A62-1A65-3328AA22883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285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Programma - managedser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1">
            <a:extLst>
              <a:ext uri="{FF2B5EF4-FFF2-40B4-BE49-F238E27FC236}">
                <a16:creationId xmlns:a16="http://schemas.microsoft.com/office/drawing/2014/main" id="{6B7C5CFF-B4E2-FA60-2E7D-125D35923E44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05419B"/>
              </a:gs>
              <a:gs pos="7000">
                <a:srgbClr val="2FC0B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Programma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899920"/>
            <a:ext cx="7677500" cy="4142106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Tijd		Programma</a:t>
            </a:r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519A69CB-BA9E-1166-022D-71A84515FDD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407611" y="751920"/>
            <a:ext cx="1892478" cy="1555681"/>
          </a:xfrm>
          <a:prstGeom prst="rect">
            <a:avLst/>
          </a:prstGeom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F0C5A26-0021-CDCF-A3F1-DE392CB0F41A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326590" cy="155568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MANAGED SERVICES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174F61E5-AA4F-E7A2-3739-61AF1DE2812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4786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rekers - managedser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Spreker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8473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3C4B4E01-24C6-5217-0061-541FD1C94EE8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983351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8" name="Tijdelijke aanduiding voor inhoud 2">
            <a:extLst>
              <a:ext uri="{FF2B5EF4-FFF2-40B4-BE49-F238E27FC236}">
                <a16:creationId xmlns:a16="http://schemas.microsoft.com/office/drawing/2014/main" id="{EB88F9E6-68F6-0FBC-BEDE-67B64704A644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915931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04080E34-22F7-5793-7EF1-9814BA400502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3020809" y="2014050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834451D8-BF02-9EAB-60FD-94EA2CB7D4F2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938320" y="1473200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C6B7A7B9-A890-019C-94C3-F5BA5DD79EE3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5043198" y="2018284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6" name="Tijdelijke aanduiding voor inhoud 2">
            <a:extLst>
              <a:ext uri="{FF2B5EF4-FFF2-40B4-BE49-F238E27FC236}">
                <a16:creationId xmlns:a16="http://schemas.microsoft.com/office/drawing/2014/main" id="{F408E156-7BD5-F134-A624-24B82A04694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05675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17" name="Afbeelding 16">
            <a:extLst>
              <a:ext uri="{FF2B5EF4-FFF2-40B4-BE49-F238E27FC236}">
                <a16:creationId xmlns:a16="http://schemas.microsoft.com/office/drawing/2014/main" id="{0C1BE875-2361-F0F4-27D2-7286759BD899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1010553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18" name="Tijdelijke aanduiding voor inhoud 2">
            <a:extLst>
              <a:ext uri="{FF2B5EF4-FFF2-40B4-BE49-F238E27FC236}">
                <a16:creationId xmlns:a16="http://schemas.microsoft.com/office/drawing/2014/main" id="{BF8CBE19-6C01-65F9-02F1-E04920577FAA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2943133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1" name="Afbeelding 20">
            <a:extLst>
              <a:ext uri="{FF2B5EF4-FFF2-40B4-BE49-F238E27FC236}">
                <a16:creationId xmlns:a16="http://schemas.microsoft.com/office/drawing/2014/main" id="{829AB1C7-614F-B5DF-77A0-CF934318CCBA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3048011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22" name="Tijdelijke aanduiding voor inhoud 2">
            <a:extLst>
              <a:ext uri="{FF2B5EF4-FFF2-40B4-BE49-F238E27FC236}">
                <a16:creationId xmlns:a16="http://schemas.microsoft.com/office/drawing/2014/main" id="{A66AAF56-1990-9774-676C-A373ED60F34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965522" y="3912658"/>
            <a:ext cx="1833880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Achternaam</a:t>
            </a:r>
          </a:p>
        </p:txBody>
      </p:sp>
      <p:pic>
        <p:nvPicPr>
          <p:cNvPr id="23" name="Afbeelding 22">
            <a:extLst>
              <a:ext uri="{FF2B5EF4-FFF2-40B4-BE49-F238E27FC236}">
                <a16:creationId xmlns:a16="http://schemas.microsoft.com/office/drawing/2014/main" id="{6F2ECFF8-ED8B-86C9-2491-D9AAF3A5C68A}"/>
              </a:ext>
            </a:extLst>
          </p:cNvPr>
          <p:cNvPicPr>
            <a:picLocks/>
          </p:cNvPicPr>
          <p:nvPr userDrawn="1"/>
        </p:nvPicPr>
        <p:blipFill rotWithShape="1">
          <a:blip r:embed="rId2"/>
          <a:srcRect l="14888" r="17919"/>
          <a:stretch/>
        </p:blipFill>
        <p:spPr>
          <a:xfrm>
            <a:off x="5070400" y="4457742"/>
            <a:ext cx="1655873" cy="1655873"/>
          </a:xfrm>
          <a:prstGeom prst="rect">
            <a:avLst/>
          </a:prstGeom>
          <a:noFill/>
          <a:ln w="190500" cap="rnd">
            <a:noFill/>
          </a:ln>
          <a:effectLst/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DC9AB34B-BCBF-575D-7110-BD9BAF43F49B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05419B"/>
              </a:gs>
              <a:gs pos="7000">
                <a:srgbClr val="2FC0B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0738A687-8267-C5FE-D0E8-247C55B4248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07611" y="751920"/>
            <a:ext cx="1892478" cy="1555681"/>
          </a:xfrm>
          <a:prstGeom prst="rect">
            <a:avLst/>
          </a:prstGeom>
        </p:spPr>
      </p:pic>
      <p:sp>
        <p:nvSpPr>
          <p:cNvPr id="13" name="Titel 1">
            <a:extLst>
              <a:ext uri="{FF2B5EF4-FFF2-40B4-BE49-F238E27FC236}">
                <a16:creationId xmlns:a16="http://schemas.microsoft.com/office/drawing/2014/main" id="{A6949F12-68A8-210E-B752-7B7AEF7D2DEF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326590" cy="155568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MANAGED SERVICES</a:t>
            </a:r>
          </a:p>
        </p:txBody>
      </p: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02965D16-D37E-F732-7FE8-DBCA30945BF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7195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dia_managedser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>
            <a:extLst>
              <a:ext uri="{FF2B5EF4-FFF2-40B4-BE49-F238E27FC236}">
                <a16:creationId xmlns:a16="http://schemas.microsoft.com/office/drawing/2014/main" id="{381E89DD-DE0E-841B-277E-56CF8F6FB5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301586"/>
            <a:ext cx="12273280" cy="8165488"/>
          </a:xfrm>
          <a:prstGeom prst="rect">
            <a:avLst/>
          </a:prstGeom>
        </p:spPr>
      </p:pic>
      <p:sp>
        <p:nvSpPr>
          <p:cNvPr id="6" name="Ondertitel 2">
            <a:extLst>
              <a:ext uri="{FF2B5EF4-FFF2-40B4-BE49-F238E27FC236}">
                <a16:creationId xmlns:a16="http://schemas.microsoft.com/office/drawing/2014/main" id="{EA0510F9-1564-1BAA-BA4F-D78C0BA3A81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3096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rgbClr val="05419B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Sub-beschrijving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8CE2F847-7D6F-BC32-4310-A3F85D39525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026450" cy="2387600"/>
          </a:xfrm>
        </p:spPr>
        <p:txBody>
          <a:bodyPr anchor="b">
            <a:noAutofit/>
          </a:bodyPr>
          <a:lstStyle>
            <a:lvl1pPr algn="l">
              <a:lnSpc>
                <a:spcPts val="6220"/>
              </a:lnSpc>
              <a:defRPr sz="6600" b="0" i="0">
                <a:solidFill>
                  <a:srgbClr val="05419B"/>
                </a:solidFill>
                <a:latin typeface="IBM Plex Sans Medium" panose="020B0503050203000203" pitchFamily="34" charset="0"/>
              </a:defRPr>
            </a:lvl1pPr>
          </a:lstStyle>
          <a:p>
            <a:r>
              <a:rPr lang="nl-NL"/>
              <a:t>Hoofstuk onderwerp</a:t>
            </a:r>
          </a:p>
        </p:txBody>
      </p:sp>
      <p:sp>
        <p:nvSpPr>
          <p:cNvPr id="3" name="Rechthoek 2">
            <a:extLst>
              <a:ext uri="{FF2B5EF4-FFF2-40B4-BE49-F238E27FC236}">
                <a16:creationId xmlns:a16="http://schemas.microsoft.com/office/drawing/2014/main" id="{E67CB26D-AC13-56D5-4F65-1FD509591882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100000">
                <a:srgbClr val="05419B">
                  <a:alpha val="48000"/>
                </a:srgbClr>
              </a:gs>
              <a:gs pos="7000">
                <a:srgbClr val="2FC0B2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6AEFEB5F-596A-31A1-74FA-21FFEF611C7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07611" y="751920"/>
            <a:ext cx="1892478" cy="1555681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C4DDE1E4-AC1D-FE6E-99EC-E8889511988F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326590" cy="155568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MANAGED SERVICES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9AB41236-7132-836D-2D29-0F6EE08B877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8894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3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  <p:bldP spid="7" grpId="0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bijschrif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A3E53D46-5A8B-E422-BEEF-44D9882D8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 err="1"/>
              <a:t>Heading</a:t>
            </a:r>
            <a:endParaRPr lang="nl-NL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CE0CF72C-B12C-07AA-95BA-87F01A0ACD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581399" y="1960641"/>
            <a:ext cx="8278337" cy="427085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431C6012-07AC-F72C-95F4-373E145B87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1366043"/>
            <a:ext cx="2741612" cy="1062197"/>
          </a:xfrm>
        </p:spPr>
        <p:txBody>
          <a:bodyPr/>
          <a:lstStyle>
            <a:lvl1pPr marL="0" indent="0">
              <a:buNone/>
              <a:defRPr sz="1600"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66AF1246-FE9F-A0D9-44A8-A07B1F35D0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30B82-C315-EF46-ADA1-30F46AE24C25}" type="datetimeFigureOut">
              <a:rPr lang="nl-NL" smtClean="0"/>
              <a:t>20-9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D096B27-0C7A-1E54-F6D0-886FDF400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8663008F-E384-4215-35B0-DCB0914D4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4CE747-A75F-3546-82CA-253856803BA8}" type="slidenum">
              <a:rPr lang="nl-NL" smtClean="0"/>
              <a:t>‹#›</a:t>
            </a:fld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FCC44BB3-E263-97CA-BE80-23AD7DCC396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50743" y="415448"/>
            <a:ext cx="1407810" cy="1410177"/>
          </a:xfrm>
          <a:prstGeom prst="rect">
            <a:avLst/>
          </a:prstGeom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18F0CEB0-E05D-22D3-50B8-BFB75A4C3485}"/>
              </a:ext>
            </a:extLst>
          </p:cNvPr>
          <p:cNvSpPr txBox="1"/>
          <p:nvPr userDrawn="1"/>
        </p:nvSpPr>
        <p:spPr>
          <a:xfrm>
            <a:off x="1794933" y="6513689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1998202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bijschrif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A3E53D46-5A8B-E422-BEEF-44D9882D8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 err="1"/>
              <a:t>Heading</a:t>
            </a:r>
            <a:endParaRPr lang="nl-NL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CE0CF72C-B12C-07AA-95BA-87F01A0ACD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581399" y="2035174"/>
            <a:ext cx="8278337" cy="427085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431C6012-07AC-F72C-95F4-373E145B87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366044"/>
            <a:ext cx="6140131" cy="374968"/>
          </a:xfrm>
        </p:spPr>
        <p:txBody>
          <a:bodyPr/>
          <a:lstStyle>
            <a:lvl1pPr marL="0" indent="0">
              <a:buNone/>
              <a:defRPr sz="1600"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66AF1246-FE9F-A0D9-44A8-A07B1F35D0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30B82-C315-EF46-ADA1-30F46AE24C25}" type="datetimeFigureOut">
              <a:rPr lang="nl-NL" smtClean="0"/>
              <a:t>20-9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D096B27-0C7A-1E54-F6D0-886FDF400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8663008F-E384-4215-35B0-DCB0914D4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4CE747-A75F-3546-82CA-253856803BA8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jdelijke aanduiding voor afbeelding 2">
            <a:extLst>
              <a:ext uri="{FF2B5EF4-FFF2-40B4-BE49-F238E27FC236}">
                <a16:creationId xmlns:a16="http://schemas.microsoft.com/office/drawing/2014/main" id="{55F7A5AE-74B0-5EA3-F126-09359FADB31F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929639" y="2035174"/>
            <a:ext cx="2504441" cy="349869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DE7D38B1-11C4-5174-00DD-8925B8A2B3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50743" y="415448"/>
            <a:ext cx="1407810" cy="1410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8507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met bijschrif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A3E53D46-5A8B-E422-BEEF-44D9882D88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 err="1"/>
              <a:t>Heading</a:t>
            </a:r>
            <a:endParaRPr lang="nl-NL"/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CE0CF72C-B12C-07AA-95BA-87F01A0ACD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914401" y="1825625"/>
            <a:ext cx="10945336" cy="461692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431C6012-07AC-F72C-95F4-373E145B87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1366044"/>
            <a:ext cx="5256211" cy="459582"/>
          </a:xfrm>
        </p:spPr>
        <p:txBody>
          <a:bodyPr/>
          <a:lstStyle>
            <a:lvl1pPr marL="0" indent="0">
              <a:buNone/>
              <a:defRPr sz="1600"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66AF1246-FE9F-A0D9-44A8-A07B1F35D0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30B82-C315-EF46-ADA1-30F46AE24C25}" type="datetimeFigureOut">
              <a:rPr lang="nl-NL" smtClean="0"/>
              <a:t>20-9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D096B27-0C7A-1E54-F6D0-886FDF400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8663008F-E384-4215-35B0-DCB0914D4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4CE747-A75F-3546-82CA-253856803BA8}" type="slidenum">
              <a:rPr lang="nl-NL" smtClean="0"/>
              <a:t>‹#›</a:t>
            </a:fld>
            <a:endParaRPr lang="nl-NL"/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08220A17-02C4-88AB-5D63-D5078A4F5CC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50743" y="415448"/>
            <a:ext cx="1407810" cy="1410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6043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kom_dia 2">
    <p:bg>
      <p:bgPr>
        <a:gradFill>
          <a:gsLst>
            <a:gs pos="100000">
              <a:srgbClr val="E94554"/>
            </a:gs>
            <a:gs pos="0">
              <a:srgbClr val="FFDD00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65B49E-E01D-C8F1-6037-771B748855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396480" cy="2387600"/>
          </a:xfrm>
        </p:spPr>
        <p:txBody>
          <a:bodyPr anchor="b">
            <a:normAutofit/>
          </a:bodyPr>
          <a:lstStyle>
            <a:lvl1pPr algn="l">
              <a:defRPr sz="11500" b="0" i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nl-NL"/>
              <a:t>Welkom!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81EEC9E-86AF-C6D3-7042-8506F50B6A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LOCATIE NAAM EN PLAATS</a:t>
            </a:r>
          </a:p>
          <a:p>
            <a:r>
              <a:rPr lang="nl-NL"/>
              <a:t>DATUM VOLUIT GESCHREVEN</a:t>
            </a:r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5AF393CC-D947-3BEC-01AA-9F154BECFC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20F8873C-0244-32C7-D3BE-58D94A71356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4494" y="540898"/>
            <a:ext cx="1516546" cy="633869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5B7D7321-CA32-AB14-EDF6-ECBF660F0ED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21494" y="540898"/>
            <a:ext cx="1864712" cy="1977725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500D844B-8A84-0224-FA5A-9A558A846D34}"/>
              </a:ext>
            </a:extLst>
          </p:cNvPr>
          <p:cNvSpPr txBox="1">
            <a:spLocks/>
          </p:cNvSpPr>
          <p:nvPr userDrawn="1"/>
        </p:nvSpPr>
        <p:spPr>
          <a:xfrm>
            <a:off x="8610600" y="2556742"/>
            <a:ext cx="3581400" cy="10055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4800"/>
              <a:t>NETWORK</a:t>
            </a:r>
          </a:p>
        </p:txBody>
      </p:sp>
    </p:spTree>
    <p:extLst>
      <p:ext uri="{BB962C8B-B14F-4D97-AF65-F5344CB8AC3E}">
        <p14:creationId xmlns:p14="http://schemas.microsoft.com/office/powerpoint/2010/main" val="30966113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CE0CF72C-B12C-07AA-95BA-87F01A0ACD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914401" y="365125"/>
            <a:ext cx="10945336" cy="57816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66AF1246-FE9F-A0D9-44A8-A07B1F35D0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30B82-C315-EF46-ADA1-30F46AE24C25}" type="datetimeFigureOut">
              <a:rPr lang="nl-NL" smtClean="0"/>
              <a:t>20-9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D096B27-0C7A-1E54-F6D0-886FDF400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8663008F-E384-4215-35B0-DCB0914D4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4CE747-A75F-3546-82CA-253856803BA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487333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 van twe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72DD2C03-A06A-DBFE-E84B-07329442AC7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>
            <a:normAutofit/>
          </a:bodyPr>
          <a:lstStyle>
            <a:lvl1pPr>
              <a:defRPr sz="2400" b="0" i="0">
                <a:latin typeface="IBM Plex Sans" panose="020B0503050203000203" pitchFamily="34" charset="0"/>
              </a:defRPr>
            </a:lvl1pPr>
            <a:lvl2pPr>
              <a:defRPr sz="2000" b="0" i="0">
                <a:latin typeface="IBM Plex Sans" panose="020B0503050203000203" pitchFamily="34" charset="0"/>
              </a:defRPr>
            </a:lvl2pPr>
            <a:lvl3pPr>
              <a:defRPr sz="1800" b="0" i="0">
                <a:latin typeface="IBM Plex Sans" panose="020B0503050203000203" pitchFamily="34" charset="0"/>
              </a:defRPr>
            </a:lvl3pPr>
            <a:lvl4pPr>
              <a:defRPr sz="1600" b="0" i="0">
                <a:latin typeface="IBM Plex Sans" panose="020B0503050203000203" pitchFamily="34" charset="0"/>
              </a:defRPr>
            </a:lvl4pPr>
            <a:lvl5pPr>
              <a:defRPr sz="16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61759BC5-4131-FF79-FAD4-4F4AD8EE2B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>
            <a:normAutofit/>
          </a:bodyPr>
          <a:lstStyle>
            <a:lvl1pPr>
              <a:defRPr sz="2400" b="0" i="0">
                <a:latin typeface="IBM Plex Sans" panose="020B0503050203000203" pitchFamily="34" charset="0"/>
              </a:defRPr>
            </a:lvl1pPr>
            <a:lvl2pPr>
              <a:defRPr sz="2000" b="0" i="0">
                <a:latin typeface="IBM Plex Sans" panose="020B0503050203000203" pitchFamily="34" charset="0"/>
              </a:defRPr>
            </a:lvl2pPr>
            <a:lvl3pPr>
              <a:defRPr sz="1800" b="0" i="0">
                <a:latin typeface="IBM Plex Sans" panose="020B0503050203000203" pitchFamily="34" charset="0"/>
              </a:defRPr>
            </a:lvl3pPr>
            <a:lvl4pPr>
              <a:defRPr sz="1600" b="0" i="0">
                <a:latin typeface="IBM Plex Sans" panose="020B0503050203000203" pitchFamily="34" charset="0"/>
              </a:defRPr>
            </a:lvl4pPr>
            <a:lvl5pPr>
              <a:defRPr sz="1600" b="0" i="0">
                <a:latin typeface="IBM Plex Sans" panose="020B0503050203000203" pitchFamily="34" charset="0"/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14" name="Tijdelijke aanduiding voor datum 13">
            <a:extLst>
              <a:ext uri="{FF2B5EF4-FFF2-40B4-BE49-F238E27FC236}">
                <a16:creationId xmlns:a16="http://schemas.microsoft.com/office/drawing/2014/main" id="{DC4B9017-48AF-0A5F-8126-E49774166F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15" name="Tijdelijke aanduiding voor voettekst 14">
            <a:extLst>
              <a:ext uri="{FF2B5EF4-FFF2-40B4-BE49-F238E27FC236}">
                <a16:creationId xmlns:a16="http://schemas.microsoft.com/office/drawing/2014/main" id="{C426D1AB-9C9D-AADC-AEED-EF7136DFB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16" name="Tijdelijke aanduiding voor dianummer 15">
            <a:extLst>
              <a:ext uri="{FF2B5EF4-FFF2-40B4-BE49-F238E27FC236}">
                <a16:creationId xmlns:a16="http://schemas.microsoft.com/office/drawing/2014/main" id="{319604F0-BB97-3179-2116-ACF0F141A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85DD0D4F-9371-18DA-D4D6-17A7961B38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 err="1"/>
              <a:t>Heading</a:t>
            </a:r>
            <a:endParaRPr lang="nl-NL"/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E1070E7C-C6ED-6815-E47E-61C0A5775C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50743" y="415448"/>
            <a:ext cx="1407810" cy="1410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1213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oud van twe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jdelijke aanduiding voor datum 13">
            <a:extLst>
              <a:ext uri="{FF2B5EF4-FFF2-40B4-BE49-F238E27FC236}">
                <a16:creationId xmlns:a16="http://schemas.microsoft.com/office/drawing/2014/main" id="{DC4B9017-48AF-0A5F-8126-E49774166F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15" name="Tijdelijke aanduiding voor voettekst 14">
            <a:extLst>
              <a:ext uri="{FF2B5EF4-FFF2-40B4-BE49-F238E27FC236}">
                <a16:creationId xmlns:a16="http://schemas.microsoft.com/office/drawing/2014/main" id="{C426D1AB-9C9D-AADC-AEED-EF7136DFBB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16" name="Tijdelijke aanduiding voor dianummer 15">
            <a:extLst>
              <a:ext uri="{FF2B5EF4-FFF2-40B4-BE49-F238E27FC236}">
                <a16:creationId xmlns:a16="http://schemas.microsoft.com/office/drawing/2014/main" id="{319604F0-BB97-3179-2116-ACF0F141A9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17" name="Titel 16">
            <a:extLst>
              <a:ext uri="{FF2B5EF4-FFF2-40B4-BE49-F238E27FC236}">
                <a16:creationId xmlns:a16="http://schemas.microsoft.com/office/drawing/2014/main" id="{85DD0D4F-9371-18DA-D4D6-17A7961B38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 err="1"/>
              <a:t>Heading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729554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150414-9450-B8BA-3780-2CAE5C5F2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73E95A04-8B89-088F-B001-0C0655FF06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2223437"/>
            <a:ext cx="6172200" cy="4023360"/>
          </a:xfrm>
        </p:spPr>
        <p:txBody>
          <a:bodyPr/>
          <a:lstStyle>
            <a:lvl1pPr>
              <a:defRPr sz="3200" b="0" i="0">
                <a:latin typeface="IBM Plex Sans" panose="020B0503050203000203" pitchFamily="34" charset="0"/>
              </a:defRPr>
            </a:lvl1pPr>
            <a:lvl2pPr>
              <a:defRPr sz="2800" b="0" i="0">
                <a:latin typeface="IBM Plex Sans" panose="020B0503050203000203" pitchFamily="34" charset="0"/>
              </a:defRPr>
            </a:lvl2pPr>
            <a:lvl3pPr>
              <a:defRPr sz="2400" b="0" i="0">
                <a:latin typeface="IBM Plex Sans" panose="020B0503050203000203" pitchFamily="34" charset="0"/>
              </a:defRPr>
            </a:lvl3pPr>
            <a:lvl4pPr>
              <a:defRPr sz="2000" b="0" i="0">
                <a:latin typeface="IBM Plex Sans" panose="020B0503050203000203" pitchFamily="34" charset="0"/>
              </a:defRPr>
            </a:lvl4pPr>
            <a:lvl5pPr>
              <a:defRPr sz="2000" b="0" i="0">
                <a:latin typeface="IBM Plex Sans" panose="020B0503050203000203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54BF6B9C-C428-F7FA-7334-EADC12FFEE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223435"/>
            <a:ext cx="3932237" cy="3927107"/>
          </a:xfrm>
        </p:spPr>
        <p:txBody>
          <a:bodyPr/>
          <a:lstStyle>
            <a:lvl1pPr marL="0" indent="0">
              <a:buNone/>
              <a:defRPr sz="1600" b="0" i="0">
                <a:latin typeface="IBM Plex Sans" panose="020B0503050203000203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C6A2C7D8-CEAB-74B6-5055-08D4C96819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50743" y="415448"/>
            <a:ext cx="1407810" cy="1410177"/>
          </a:xfrm>
          <a:prstGeom prst="rect">
            <a:avLst/>
          </a:prstGeom>
        </p:spPr>
      </p:pic>
      <p:sp>
        <p:nvSpPr>
          <p:cNvPr id="9" name="Tijdelijke aanduiding voor datum 13">
            <a:extLst>
              <a:ext uri="{FF2B5EF4-FFF2-40B4-BE49-F238E27FC236}">
                <a16:creationId xmlns:a16="http://schemas.microsoft.com/office/drawing/2014/main" id="{30609B97-A2F5-DAAD-D733-0B40B642D4C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10" name="Tijdelijke aanduiding voor voettekst 14">
            <a:extLst>
              <a:ext uri="{FF2B5EF4-FFF2-40B4-BE49-F238E27FC236}">
                <a16:creationId xmlns:a16="http://schemas.microsoft.com/office/drawing/2014/main" id="{F39569B3-45EB-5DEA-3C81-9CC1E30F1A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11" name="Tijdelijke aanduiding voor dianummer 15">
            <a:extLst>
              <a:ext uri="{FF2B5EF4-FFF2-40B4-BE49-F238E27FC236}">
                <a16:creationId xmlns:a16="http://schemas.microsoft.com/office/drawing/2014/main" id="{1BBB03C6-E671-8C3D-F8C0-CFEB2ABF40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826507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prekers - net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1F70C180-B230-A4D2-9DF0-425664FD2D49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0">
                <a:srgbClr val="048BEC"/>
              </a:gs>
              <a:gs pos="100000">
                <a:srgbClr val="05419B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6FB1A898-0376-D527-CE93-365C69BB13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 err="1"/>
              <a:t>Upcoming</a:t>
            </a:r>
            <a:r>
              <a:rPr lang="nl-NL"/>
              <a:t> Events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184EB27B-7594-0E14-01DC-3043FD020F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78473" y="1473201"/>
            <a:ext cx="2420486" cy="54085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>
                <a:solidFill>
                  <a:schemeClr val="tx1"/>
                </a:solidFill>
                <a:latin typeface="IBM Plex Sans SemiBold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Event - datum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16" name="Tijdelijke aanduiding voor inhoud 2">
            <a:extLst>
              <a:ext uri="{FF2B5EF4-FFF2-40B4-BE49-F238E27FC236}">
                <a16:creationId xmlns:a16="http://schemas.microsoft.com/office/drawing/2014/main" id="{F408E156-7BD5-F134-A624-24B82A04694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905674" y="3912658"/>
            <a:ext cx="2477873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Event - datum</a:t>
            </a:r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0D3CB6AE-711F-59EF-5F34-F08BDDA6B3A2}"/>
              </a:ext>
            </a:extLst>
          </p:cNvPr>
          <p:cNvSpPr/>
          <p:nvPr userDrawn="1"/>
        </p:nvSpPr>
        <p:spPr>
          <a:xfrm>
            <a:off x="983351" y="2014050"/>
            <a:ext cx="2340874" cy="16558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5" name="Rechthoek 14">
            <a:extLst>
              <a:ext uri="{FF2B5EF4-FFF2-40B4-BE49-F238E27FC236}">
                <a16:creationId xmlns:a16="http://schemas.microsoft.com/office/drawing/2014/main" id="{49B50E0F-E84B-6F77-4EBD-AA611D32B015}"/>
              </a:ext>
            </a:extLst>
          </p:cNvPr>
          <p:cNvSpPr/>
          <p:nvPr userDrawn="1"/>
        </p:nvSpPr>
        <p:spPr>
          <a:xfrm>
            <a:off x="3469376" y="2014050"/>
            <a:ext cx="2340874" cy="16558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5" name="Rechthoek 24">
            <a:extLst>
              <a:ext uri="{FF2B5EF4-FFF2-40B4-BE49-F238E27FC236}">
                <a16:creationId xmlns:a16="http://schemas.microsoft.com/office/drawing/2014/main" id="{DA6D3C36-E583-8B38-E4A0-7B4FF188AC52}"/>
              </a:ext>
            </a:extLst>
          </p:cNvPr>
          <p:cNvSpPr/>
          <p:nvPr userDrawn="1"/>
        </p:nvSpPr>
        <p:spPr>
          <a:xfrm>
            <a:off x="5964926" y="2014050"/>
            <a:ext cx="2340874" cy="16558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6" name="Tijdelijke aanduiding voor inhoud 2">
            <a:extLst>
              <a:ext uri="{FF2B5EF4-FFF2-40B4-BE49-F238E27FC236}">
                <a16:creationId xmlns:a16="http://schemas.microsoft.com/office/drawing/2014/main" id="{D66ED98A-27DF-4D2F-A851-C87B50F6EF6B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3383548" y="1473201"/>
            <a:ext cx="2420486" cy="54085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>
                <a:solidFill>
                  <a:schemeClr val="tx1"/>
                </a:solidFill>
                <a:latin typeface="IBM Plex Sans SemiBold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Event - datum</a:t>
            </a:r>
          </a:p>
        </p:txBody>
      </p:sp>
      <p:sp>
        <p:nvSpPr>
          <p:cNvPr id="27" name="Tijdelijke aanduiding voor inhoud 2">
            <a:extLst>
              <a:ext uri="{FF2B5EF4-FFF2-40B4-BE49-F238E27FC236}">
                <a16:creationId xmlns:a16="http://schemas.microsoft.com/office/drawing/2014/main" id="{2BA30251-1542-4F39-BBCE-0FB3F508EFE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5869573" y="1473201"/>
            <a:ext cx="2420486" cy="54085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0" i="0">
                <a:solidFill>
                  <a:schemeClr val="tx1"/>
                </a:solidFill>
                <a:latin typeface="IBM Plex Sans SemiBold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Event - datum</a:t>
            </a:r>
          </a:p>
        </p:txBody>
      </p:sp>
      <p:sp>
        <p:nvSpPr>
          <p:cNvPr id="28" name="Rechthoek 27">
            <a:extLst>
              <a:ext uri="{FF2B5EF4-FFF2-40B4-BE49-F238E27FC236}">
                <a16:creationId xmlns:a16="http://schemas.microsoft.com/office/drawing/2014/main" id="{575275CD-5B27-3EEE-3CC5-9B00E05CED95}"/>
              </a:ext>
            </a:extLst>
          </p:cNvPr>
          <p:cNvSpPr/>
          <p:nvPr userDrawn="1"/>
        </p:nvSpPr>
        <p:spPr>
          <a:xfrm>
            <a:off x="983351" y="4442925"/>
            <a:ext cx="2340874" cy="16558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9" name="Tijdelijke aanduiding voor inhoud 2">
            <a:extLst>
              <a:ext uri="{FF2B5EF4-FFF2-40B4-BE49-F238E27FC236}">
                <a16:creationId xmlns:a16="http://schemas.microsoft.com/office/drawing/2014/main" id="{9B7DACF5-E006-74F2-D99C-DED6177D150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382174" y="3912658"/>
            <a:ext cx="2477873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Event - datum</a:t>
            </a:r>
          </a:p>
        </p:txBody>
      </p:sp>
      <p:sp>
        <p:nvSpPr>
          <p:cNvPr id="30" name="Rechthoek 29">
            <a:extLst>
              <a:ext uri="{FF2B5EF4-FFF2-40B4-BE49-F238E27FC236}">
                <a16:creationId xmlns:a16="http://schemas.microsoft.com/office/drawing/2014/main" id="{102C1468-BA8C-2463-AC13-B9A53C801B50}"/>
              </a:ext>
            </a:extLst>
          </p:cNvPr>
          <p:cNvSpPr/>
          <p:nvPr userDrawn="1"/>
        </p:nvSpPr>
        <p:spPr>
          <a:xfrm>
            <a:off x="3459851" y="4442925"/>
            <a:ext cx="2340874" cy="16558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1" name="Tijdelijke aanduiding voor inhoud 2">
            <a:extLst>
              <a:ext uri="{FF2B5EF4-FFF2-40B4-BE49-F238E27FC236}">
                <a16:creationId xmlns:a16="http://schemas.microsoft.com/office/drawing/2014/main" id="{51742719-C79A-C169-9009-2D034C0F25D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5868199" y="3912658"/>
            <a:ext cx="2477873" cy="1005307"/>
          </a:xfrm>
        </p:spPr>
        <p:txBody>
          <a:bodyPr>
            <a:normAutofit/>
          </a:bodyPr>
          <a:lstStyle>
            <a:lvl1pPr marL="0" indent="0">
              <a:buNone/>
              <a:defRPr sz="1400" b="0" i="0">
                <a:solidFill>
                  <a:schemeClr val="tx1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>
                <a:effectLst/>
                <a:latin typeface="IBM Plex Sans" panose="020B0503050203000203" pitchFamily="34" charset="0"/>
              </a:rPr>
              <a:t>Naam Event - datum</a:t>
            </a:r>
          </a:p>
        </p:txBody>
      </p:sp>
      <p:sp>
        <p:nvSpPr>
          <p:cNvPr id="32" name="Rechthoek 31">
            <a:extLst>
              <a:ext uri="{FF2B5EF4-FFF2-40B4-BE49-F238E27FC236}">
                <a16:creationId xmlns:a16="http://schemas.microsoft.com/office/drawing/2014/main" id="{22E6EB6B-52AC-F765-8835-09360E1EC9EA}"/>
              </a:ext>
            </a:extLst>
          </p:cNvPr>
          <p:cNvSpPr/>
          <p:nvPr userDrawn="1"/>
        </p:nvSpPr>
        <p:spPr>
          <a:xfrm>
            <a:off x="5945876" y="4442925"/>
            <a:ext cx="2340874" cy="16558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770762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prekers - netwo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1F70C180-B230-A4D2-9DF0-425664FD2D49}"/>
              </a:ext>
            </a:extLst>
          </p:cNvPr>
          <p:cNvSpPr/>
          <p:nvPr userDrawn="1"/>
        </p:nvSpPr>
        <p:spPr>
          <a:xfrm>
            <a:off x="8610600" y="0"/>
            <a:ext cx="3581400" cy="6858000"/>
          </a:xfrm>
          <a:prstGeom prst="rect">
            <a:avLst/>
          </a:prstGeom>
          <a:gradFill>
            <a:gsLst>
              <a:gs pos="0">
                <a:srgbClr val="048BEC"/>
              </a:gs>
              <a:gs pos="100000">
                <a:srgbClr val="05419B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6FB1A898-0376-D527-CE93-365C69BB13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BA433052-86F0-E5F9-89DA-D964134C06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7207710" cy="1325563"/>
          </a:xfrm>
        </p:spPr>
        <p:txBody>
          <a:bodyPr>
            <a:normAutofit/>
          </a:bodyPr>
          <a:lstStyle>
            <a:lvl1pPr>
              <a:defRPr sz="3600" b="0" i="0">
                <a:solidFill>
                  <a:srgbClr val="048BEC"/>
                </a:solidFill>
                <a:latin typeface="IBM Plex Sans" panose="020B0503050203000203" pitchFamily="34" charset="0"/>
              </a:defRPr>
            </a:lvl1pPr>
          </a:lstStyle>
          <a:p>
            <a:r>
              <a:rPr lang="nl-NL"/>
              <a:t>Partners</a:t>
            </a:r>
          </a:p>
        </p:txBody>
      </p:sp>
      <p:sp>
        <p:nvSpPr>
          <p:cNvPr id="19" name="Tijdelijke aanduiding voor datum 18">
            <a:extLst>
              <a:ext uri="{FF2B5EF4-FFF2-40B4-BE49-F238E27FC236}">
                <a16:creationId xmlns:a16="http://schemas.microsoft.com/office/drawing/2014/main" id="{C49356FC-17C9-00A1-B883-303929346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sp>
        <p:nvSpPr>
          <p:cNvPr id="20" name="Tijdelijke aanduiding voor voettekst 19">
            <a:extLst>
              <a:ext uri="{FF2B5EF4-FFF2-40B4-BE49-F238E27FC236}">
                <a16:creationId xmlns:a16="http://schemas.microsoft.com/office/drawing/2014/main" id="{55240F9B-83F6-0770-0230-9D2F25E750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solidFill>
                  <a:srgbClr val="048BEC"/>
                </a:solidFill>
                <a:latin typeface="IBM Plex Sans Light" panose="020B0403050203000203" pitchFamily="34" charset="0"/>
              </a:defRPr>
            </a:lvl1pPr>
          </a:lstStyle>
          <a:p>
            <a:endParaRPr lang="nl-NL"/>
          </a:p>
        </p:txBody>
      </p:sp>
      <p:grpSp>
        <p:nvGrpSpPr>
          <p:cNvPr id="36" name="Groep 35">
            <a:extLst>
              <a:ext uri="{FF2B5EF4-FFF2-40B4-BE49-F238E27FC236}">
                <a16:creationId xmlns:a16="http://schemas.microsoft.com/office/drawing/2014/main" id="{959C9E17-342B-F574-B0DC-9FD2A284381E}"/>
              </a:ext>
            </a:extLst>
          </p:cNvPr>
          <p:cNvGrpSpPr/>
          <p:nvPr userDrawn="1"/>
        </p:nvGrpSpPr>
        <p:grpSpPr>
          <a:xfrm>
            <a:off x="650788" y="2591802"/>
            <a:ext cx="6341974" cy="2808873"/>
            <a:chOff x="459315" y="2183948"/>
            <a:chExt cx="8150719" cy="3609970"/>
          </a:xfrm>
        </p:grpSpPr>
        <p:pic>
          <p:nvPicPr>
            <p:cNvPr id="12" name="Afbeelding 11">
              <a:extLst>
                <a:ext uri="{FF2B5EF4-FFF2-40B4-BE49-F238E27FC236}">
                  <a16:creationId xmlns:a16="http://schemas.microsoft.com/office/drawing/2014/main" id="{119D0D04-15A3-3C43-FC15-D4D22B8F5E1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840157" y="3672432"/>
              <a:ext cx="2363066" cy="732550"/>
            </a:xfrm>
            <a:prstGeom prst="rect">
              <a:avLst/>
            </a:prstGeom>
          </p:spPr>
        </p:pic>
        <p:pic>
          <p:nvPicPr>
            <p:cNvPr id="17" name="Afbeelding 16">
              <a:extLst>
                <a:ext uri="{FF2B5EF4-FFF2-40B4-BE49-F238E27FC236}">
                  <a16:creationId xmlns:a16="http://schemas.microsoft.com/office/drawing/2014/main" id="{C8D31E96-1E23-A4B3-1088-A29B7E4579C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59315" y="4595018"/>
              <a:ext cx="1597303" cy="1198900"/>
            </a:xfrm>
            <a:prstGeom prst="rect">
              <a:avLst/>
            </a:prstGeom>
          </p:spPr>
        </p:pic>
        <p:pic>
          <p:nvPicPr>
            <p:cNvPr id="21" name="Afbeelding 20">
              <a:extLst>
                <a:ext uri="{FF2B5EF4-FFF2-40B4-BE49-F238E27FC236}">
                  <a16:creationId xmlns:a16="http://schemas.microsoft.com/office/drawing/2014/main" id="{67E576E3-0F2E-7D74-70F5-213CC8C7FC6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2361418" y="5043214"/>
              <a:ext cx="1762414" cy="376852"/>
            </a:xfrm>
            <a:prstGeom prst="rect">
              <a:avLst/>
            </a:prstGeom>
          </p:spPr>
        </p:pic>
        <p:pic>
          <p:nvPicPr>
            <p:cNvPr id="23" name="Afbeelding 22">
              <a:extLst>
                <a:ext uri="{FF2B5EF4-FFF2-40B4-BE49-F238E27FC236}">
                  <a16:creationId xmlns:a16="http://schemas.microsoft.com/office/drawing/2014/main" id="{48C9ABEB-CB08-BF0E-81F7-7A38AF2E01D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813419" y="3696989"/>
              <a:ext cx="2310475" cy="586560"/>
            </a:xfrm>
            <a:prstGeom prst="rect">
              <a:avLst/>
            </a:prstGeom>
          </p:spPr>
        </p:pic>
        <p:pic>
          <p:nvPicPr>
            <p:cNvPr id="33" name="Afbeelding 32">
              <a:extLst>
                <a:ext uri="{FF2B5EF4-FFF2-40B4-BE49-F238E27FC236}">
                  <a16:creationId xmlns:a16="http://schemas.microsoft.com/office/drawing/2014/main" id="{C6707EC3-389F-6A0D-3AD9-1F854BFB91A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5575448" y="2295623"/>
              <a:ext cx="3034586" cy="1093104"/>
            </a:xfrm>
            <a:prstGeom prst="rect">
              <a:avLst/>
            </a:prstGeom>
          </p:spPr>
        </p:pic>
        <p:pic>
          <p:nvPicPr>
            <p:cNvPr id="35" name="Afbeelding 34">
              <a:extLst>
                <a:ext uri="{FF2B5EF4-FFF2-40B4-BE49-F238E27FC236}">
                  <a16:creationId xmlns:a16="http://schemas.microsoft.com/office/drawing/2014/main" id="{EF8D5A04-22FF-3521-226F-4CFB9F8F3D4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/>
            <a:stretch>
              <a:fillRect/>
            </a:stretch>
          </p:blipFill>
          <p:spPr>
            <a:xfrm>
              <a:off x="3620053" y="3434533"/>
              <a:ext cx="1821840" cy="1093104"/>
            </a:xfrm>
            <a:prstGeom prst="rect">
              <a:avLst/>
            </a:prstGeom>
          </p:spPr>
        </p:pic>
        <p:pic>
          <p:nvPicPr>
            <p:cNvPr id="8" name="Afbeelding 7">
              <a:extLst>
                <a:ext uri="{FF2B5EF4-FFF2-40B4-BE49-F238E27FC236}">
                  <a16:creationId xmlns:a16="http://schemas.microsoft.com/office/drawing/2014/main" id="{A37ACA62-9978-0643-E9C5-6F4CC3BB07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/>
            <a:stretch>
              <a:fillRect/>
            </a:stretch>
          </p:blipFill>
          <p:spPr>
            <a:xfrm>
              <a:off x="2813808" y="2183948"/>
              <a:ext cx="3140649" cy="1153950"/>
            </a:xfrm>
            <a:prstGeom prst="rect">
              <a:avLst/>
            </a:prstGeom>
          </p:spPr>
        </p:pic>
      </p:grpSp>
      <p:pic>
        <p:nvPicPr>
          <p:cNvPr id="6" name="Afbeelding 5" descr="Afbeelding met Lettertype, Graphics, schermopname, tekst&#10;&#10;Automatisch gegenereerde beschrijving">
            <a:extLst>
              <a:ext uri="{FF2B5EF4-FFF2-40B4-BE49-F238E27FC236}">
                <a16:creationId xmlns:a16="http://schemas.microsoft.com/office/drawing/2014/main" id="{37779E28-8B5C-F43B-8237-D23D273B9AD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l="20755" r="17531" b="49063"/>
          <a:stretch/>
        </p:blipFill>
        <p:spPr>
          <a:xfrm>
            <a:off x="909100" y="2449468"/>
            <a:ext cx="1221691" cy="979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010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piresessions dia 2">
    <p:bg>
      <p:bgPr>
        <a:gradFill>
          <a:gsLst>
            <a:gs pos="0">
              <a:srgbClr val="048BEC"/>
            </a:gs>
            <a:gs pos="100000">
              <a:srgbClr val="05419B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902F59E8-8AAD-4805-88FE-F7E25B09F8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212677" y="-621862"/>
            <a:ext cx="10752094" cy="6311011"/>
          </a:xfrm>
          <a:prstGeom prst="rect">
            <a:avLst/>
          </a:prstGeom>
          <a:effectLst/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5AF393CC-D947-3BEC-01AA-9F154BECFC3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996984" y="4154625"/>
            <a:ext cx="2198030" cy="2201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4096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84C22242-90D9-43A5-891D-AF630B60580C}"/>
              </a:ext>
            </a:extLst>
          </p:cNvPr>
          <p:cNvSpPr/>
          <p:nvPr userDrawn="1"/>
        </p:nvSpPr>
        <p:spPr>
          <a:xfrm>
            <a:off x="762000" y="762001"/>
            <a:ext cx="10668000" cy="533400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154551"/>
            <a:ext cx="9144000" cy="1274451"/>
          </a:xfrm>
        </p:spPr>
        <p:txBody>
          <a:bodyPr wrap="square" anchor="b">
            <a:noAutofit/>
          </a:bodyPr>
          <a:lstStyle>
            <a:lvl1pPr algn="ctr">
              <a:defRPr sz="460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 </a:t>
            </a:r>
            <a:br>
              <a:rPr lang="en-GB"/>
            </a:br>
            <a:r>
              <a:rPr lang="en-GB"/>
              <a:t>[see slide for changing photo] 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360227"/>
          </a:xfrm>
        </p:spPr>
        <p:txBody>
          <a:bodyPr>
            <a:noAutofit/>
          </a:bodyPr>
          <a:lstStyle>
            <a:lvl1pPr marL="0" indent="0" algn="ctr">
              <a:buNone/>
              <a:defRPr sz="2601">
                <a:solidFill>
                  <a:schemeClr val="bg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172B8E8-8BAD-4907-9ED9-92585C6B550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29073" y="5359145"/>
            <a:ext cx="1194436" cy="49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6953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57727272-4EE5-4F3A-8E1E-A4834CF305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F1592747-95E8-4E0C-A675-88BE6AAA5F33}"/>
              </a:ext>
            </a:extLst>
          </p:cNvPr>
          <p:cNvSpPr/>
          <p:nvPr userDrawn="1"/>
        </p:nvSpPr>
        <p:spPr>
          <a:xfrm>
            <a:off x="0" y="0"/>
            <a:ext cx="4121524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100000"/>
                </a:schemeClr>
              </a:gs>
              <a:gs pos="100000">
                <a:schemeClr val="accent1">
                  <a:lumMod val="85000"/>
                  <a:lumOff val="15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82D130F-1287-4DBE-924E-7EC205CFEC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6179" b="12474"/>
          <a:stretch/>
        </p:blipFill>
        <p:spPr>
          <a:xfrm>
            <a:off x="-1" y="1338041"/>
            <a:ext cx="11077141" cy="5519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1635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Divid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154551"/>
            <a:ext cx="9144000" cy="1274451"/>
          </a:xfrm>
        </p:spPr>
        <p:txBody>
          <a:bodyPr wrap="square" anchor="b">
            <a:noAutofit/>
          </a:bodyPr>
          <a:lstStyle>
            <a:lvl1pPr algn="ctr">
              <a:defRPr sz="460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360227"/>
          </a:xfrm>
        </p:spPr>
        <p:txBody>
          <a:bodyPr>
            <a:noAutofit/>
          </a:bodyPr>
          <a:lstStyle>
            <a:lvl1pPr marL="0" indent="0" algn="ctr">
              <a:buNone/>
              <a:defRPr sz="2601">
                <a:solidFill>
                  <a:schemeClr val="bg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2A80E125-E52B-44EF-B277-4D2DDF20215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29073" y="5359145"/>
            <a:ext cx="1194436" cy="49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2514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kom_dia 3">
    <p:bg>
      <p:bgPr>
        <a:gradFill>
          <a:gsLst>
            <a:gs pos="100000">
              <a:srgbClr val="6559A2"/>
            </a:gs>
            <a:gs pos="15000">
              <a:srgbClr val="E94554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65B49E-E01D-C8F1-6037-771B748855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396480" cy="2387600"/>
          </a:xfrm>
        </p:spPr>
        <p:txBody>
          <a:bodyPr anchor="b">
            <a:normAutofit/>
          </a:bodyPr>
          <a:lstStyle>
            <a:lvl1pPr algn="l">
              <a:defRPr sz="11500" b="0" i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nl-NL"/>
              <a:t>Welkom!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81EEC9E-86AF-C6D3-7042-8506F50B6A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LOCATIE NAAM EN PLAATS</a:t>
            </a:r>
          </a:p>
          <a:p>
            <a:r>
              <a:rPr lang="nl-NL"/>
              <a:t>DATUM VOLUIT GESCHREVEN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20F8873C-0244-32C7-D3BE-58D94A7135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4494" y="540898"/>
            <a:ext cx="1516546" cy="633869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492FA480-8241-8E02-0B99-B8663ED0740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07611" y="540898"/>
            <a:ext cx="1892478" cy="1977725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8641845E-E8ED-6632-9178-41EC0386F6ED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129280" cy="177349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HYBRID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CLOUD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2CF73628-FF5D-777B-A2AC-B3B36842B08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63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ico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BFB42573-D0D4-485C-BF1E-B060E93FA6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1BC394-1A48-47C9-A9B0-4F3C4CDEADBE}" type="datetime3">
              <a:rPr lang="en-GB" smtClean="0"/>
              <a:t>20 September, 2023</a:t>
            </a:fld>
            <a:endParaRPr lang="en-GB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6EBD52E7-FFEA-4D1F-B3C7-469D0C4AD9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41D2FBD8-E908-4E7B-B587-8272D1376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Oval 10">
            <a:extLst>
              <a:ext uri="{FF2B5EF4-FFF2-40B4-BE49-F238E27FC236}">
                <a16:creationId xmlns:a16="http://schemas.microsoft.com/office/drawing/2014/main" id="{7BC5AC41-113C-46A3-95BE-A034B2E33BAC}"/>
              </a:ext>
            </a:extLst>
          </p:cNvPr>
          <p:cNvSpPr/>
          <p:nvPr userDrawn="1"/>
        </p:nvSpPr>
        <p:spPr>
          <a:xfrm>
            <a:off x="6589574" y="2275302"/>
            <a:ext cx="2678870" cy="2678870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381000" dist="317500" dir="5400000" sx="94000" sy="94000" algn="ctr" rotWithShape="0">
              <a:schemeClr val="accent1">
                <a:lumMod val="75000"/>
                <a:alpha val="2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12" name="Picture 5">
            <a:extLst>
              <a:ext uri="{FF2B5EF4-FFF2-40B4-BE49-F238E27FC236}">
                <a16:creationId xmlns:a16="http://schemas.microsoft.com/office/drawing/2014/main" id="{EA4A11A8-25B4-415B-B036-B092BCB2D5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379" y="3002941"/>
            <a:ext cx="5578009" cy="778132"/>
          </a:xfrm>
          <a:prstGeom prst="rect">
            <a:avLst/>
          </a:prstGeom>
        </p:spPr>
      </p:pic>
      <p:pic>
        <p:nvPicPr>
          <p:cNvPr id="18" name="Picture 8">
            <a:extLst>
              <a:ext uri="{FF2B5EF4-FFF2-40B4-BE49-F238E27FC236}">
                <a16:creationId xmlns:a16="http://schemas.microsoft.com/office/drawing/2014/main" id="{50EC3743-3A1E-4695-ACF4-A1E38F3E5C2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7185736" y="2900038"/>
            <a:ext cx="1486546" cy="148654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26F4F14-3BA0-480F-97B8-C7188F051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78379" y="1524000"/>
            <a:ext cx="5511195" cy="1263413"/>
          </a:xfrm>
        </p:spPr>
        <p:txBody>
          <a:bodyPr anchor="b"/>
          <a:lstStyle>
            <a:lvl1pPr>
              <a:defRPr sz="4600"/>
            </a:lvl1pPr>
          </a:lstStyle>
          <a:p>
            <a:pPr eaLnBrk="0" fontAlgn="base" hangingPunct="0">
              <a:spcAft>
                <a:spcPct val="0"/>
              </a:spcAft>
            </a:pPr>
            <a:r>
              <a:rPr lang="en-GB" sz="4600" spc="-110"/>
              <a:t>Embrace</a:t>
            </a:r>
            <a:br>
              <a:rPr lang="en-GB" sz="4600" spc="-110"/>
            </a:br>
            <a:r>
              <a:rPr lang="en-GB" sz="4600" spc="-110">
                <a:latin typeface="IBM Plex Sans Medium" panose="020B0603050203000203" pitchFamily="34" charset="0"/>
              </a:rPr>
              <a:t>Sustainable Change</a:t>
            </a:r>
            <a:endParaRPr lang="en-US" sz="4600" spc="-110">
              <a:latin typeface="IBM Plex Sans Medium" panose="020B0603050203000203" pitchFamily="34" charset="0"/>
              <a:ea typeface="Tahoma" pitchFamily="34" charset="0"/>
              <a:cs typeface="Calibri" panose="020F0502020204030204" pitchFamily="34" charset="0"/>
            </a:endParaRP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C08331B-F2E4-418E-B557-D90599E4BDD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1078379" y="3429000"/>
            <a:ext cx="4255621" cy="2667000"/>
          </a:xfrm>
        </p:spPr>
        <p:txBody>
          <a:bodyPr/>
          <a:lstStyle>
            <a:lvl1pPr>
              <a:buClrTx/>
              <a:defRPr sz="1400"/>
            </a:lvl1pPr>
            <a:lvl2pPr>
              <a:buClrTx/>
              <a:defRPr sz="1400"/>
            </a:lvl2pPr>
            <a:lvl3pPr>
              <a:buClrTx/>
              <a:defRPr sz="1400"/>
            </a:lvl3pPr>
            <a:lvl4pPr>
              <a:buClrTx/>
              <a:defRPr sz="1400"/>
            </a:lvl4pPr>
            <a:lvl5pPr>
              <a:buClrTx/>
              <a:defRPr sz="1400"/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748666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Divid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2000" y="1523746"/>
            <a:ext cx="10668000" cy="1274451"/>
          </a:xfrm>
        </p:spPr>
        <p:txBody>
          <a:bodyPr wrap="square" anchor="b">
            <a:noAutofit/>
          </a:bodyPr>
          <a:lstStyle>
            <a:lvl1pPr algn="l">
              <a:defRPr sz="460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2000" y="2971235"/>
            <a:ext cx="10668000" cy="360227"/>
          </a:xfrm>
        </p:spPr>
        <p:txBody>
          <a:bodyPr wrap="square">
            <a:noAutofit/>
          </a:bodyPr>
          <a:lstStyle>
            <a:lvl1pPr marL="0" indent="0" algn="l">
              <a:buNone/>
              <a:defRPr sz="2601">
                <a:solidFill>
                  <a:schemeClr val="bg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4266092E-BEFC-47D7-8315-F0505E7782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63774" y="6137100"/>
            <a:ext cx="1194436" cy="49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7537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 page with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58A6FE3B-A2A0-4196-BA1A-77F2961D63D6}"/>
              </a:ext>
            </a:extLst>
          </p:cNvPr>
          <p:cNvSpPr/>
          <p:nvPr userDrawn="1"/>
        </p:nvSpPr>
        <p:spPr>
          <a:xfrm>
            <a:off x="-2" y="0"/>
            <a:ext cx="6096000" cy="685800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5" y="730800"/>
            <a:ext cx="4854577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5" y="1524000"/>
            <a:ext cx="4854580" cy="456644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CBDF8113-F577-43FD-8721-35FCD96E37DB}"/>
              </a:ext>
            </a:extLst>
          </p:cNvPr>
          <p:cNvSpPr/>
          <p:nvPr userDrawn="1"/>
        </p:nvSpPr>
        <p:spPr>
          <a:xfrm>
            <a:off x="495300" y="1263314"/>
            <a:ext cx="889348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DC666F2-AAF4-494F-A413-F76A5D8170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2F97402-08A6-4A96-8455-18D3FD18D7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ladsholder til dato 4">
            <a:extLst>
              <a:ext uri="{FF2B5EF4-FFF2-40B4-BE49-F238E27FC236}">
                <a16:creationId xmlns:a16="http://schemas.microsoft.com/office/drawing/2014/main" id="{306A7810-AA0A-4575-89EF-B85F78A0D5F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8783C995-2D98-48F7-95E2-C85569E3B3C2}" type="datetime3">
              <a:rPr lang="en-GB" smtClean="0"/>
              <a:t>20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37667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 page with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58A6FE3B-A2A0-4196-BA1A-77F2961D63D6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858000" y="730800"/>
            <a:ext cx="4854577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858000" y="1524000"/>
            <a:ext cx="4854580" cy="456644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CBDF8113-F577-43FD-8721-35FCD96E37DB}"/>
              </a:ext>
            </a:extLst>
          </p:cNvPr>
          <p:cNvSpPr/>
          <p:nvPr userDrawn="1"/>
        </p:nvSpPr>
        <p:spPr>
          <a:xfrm>
            <a:off x="6858000" y="1263314"/>
            <a:ext cx="889348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DC666F2-AAF4-494F-A413-F76A5D8170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2F97402-08A6-4A96-8455-18D3FD18D7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ladsholder til dato 4">
            <a:extLst>
              <a:ext uri="{FF2B5EF4-FFF2-40B4-BE49-F238E27FC236}">
                <a16:creationId xmlns:a16="http://schemas.microsoft.com/office/drawing/2014/main" id="{46A317BA-7153-45FF-BE0D-F479B02D15B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A5330715-2FF8-4AA2-BFC4-985D6CBF938F}" type="datetime3">
              <a:rPr lang="en-GB" smtClean="0"/>
              <a:t>20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967246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4" y="730800"/>
            <a:ext cx="4854573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5" y="1524000"/>
            <a:ext cx="4854580" cy="456644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552B51E-0503-4C2D-9115-06E10CBD920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858001" y="730800"/>
            <a:ext cx="4854574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FA7E821B-7984-492D-A278-C8267B4AF3C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858001" y="1523991"/>
            <a:ext cx="4854574" cy="457201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317375A4-B71D-4F0C-94AC-535B1A2D8042}"/>
              </a:ext>
            </a:extLst>
          </p:cNvPr>
          <p:cNvSpPr/>
          <p:nvPr userDrawn="1"/>
        </p:nvSpPr>
        <p:spPr>
          <a:xfrm>
            <a:off x="495300" y="1263314"/>
            <a:ext cx="889348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600CF2E3-9FF8-431C-B107-5D8A94CEFD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475F54D7-E9B6-41CC-90AB-26BFE3A611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741B96C4-8858-44A7-BB12-58C1744A527B}"/>
              </a:ext>
            </a:extLst>
          </p:cNvPr>
          <p:cNvSpPr/>
          <p:nvPr userDrawn="1"/>
        </p:nvSpPr>
        <p:spPr>
          <a:xfrm>
            <a:off x="68580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Pladsholder til dato 4">
            <a:extLst>
              <a:ext uri="{FF2B5EF4-FFF2-40B4-BE49-F238E27FC236}">
                <a16:creationId xmlns:a16="http://schemas.microsoft.com/office/drawing/2014/main" id="{A8914A1B-8E1F-41AA-8AA7-08173FC7F42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023658A5-AE09-4E23-A54D-FF5325A92588}" type="datetime3">
              <a:rPr lang="en-GB" smtClean="0"/>
              <a:t>20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31353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mparison">
    <p:bg>
      <p:bgPr>
        <a:blipFill dpi="0" rotWithShape="1">
          <a:blip r:embed="rId2" cstate="email">
            <a:alphaModFix amt="60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2DAE24D2-A089-4909-843A-06F8EA54836C}"/>
              </a:ext>
            </a:extLst>
          </p:cNvPr>
          <p:cNvSpPr/>
          <p:nvPr userDrawn="1"/>
        </p:nvSpPr>
        <p:spPr>
          <a:xfrm>
            <a:off x="-1" y="0"/>
            <a:ext cx="6096002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en-GB" sz="1801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4" y="730800"/>
            <a:ext cx="4854578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5" y="1524010"/>
            <a:ext cx="4854580" cy="4566433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552B51E-0503-4C2D-9115-06E10CBD920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858001" y="730800"/>
            <a:ext cx="4854574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FA7E821B-7984-492D-A278-C8267B4AF3C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858001" y="1524001"/>
            <a:ext cx="4854574" cy="45720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819F2AC3-E4AE-4CBC-A0B0-77DCD82013F3}"/>
              </a:ext>
            </a:extLst>
          </p:cNvPr>
          <p:cNvSpPr/>
          <p:nvPr userDrawn="1"/>
        </p:nvSpPr>
        <p:spPr>
          <a:xfrm>
            <a:off x="495300" y="1263314"/>
            <a:ext cx="889348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6B9625D7-6D66-4DFF-B613-902393F684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37A84213-F93D-4029-B406-34189CD14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061B46BF-6AF7-4D51-8AC9-EEBBED7C50CE}"/>
              </a:ext>
            </a:extLst>
          </p:cNvPr>
          <p:cNvSpPr/>
          <p:nvPr userDrawn="1"/>
        </p:nvSpPr>
        <p:spPr>
          <a:xfrm>
            <a:off x="68580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Pladsholder til dato 4">
            <a:extLst>
              <a:ext uri="{FF2B5EF4-FFF2-40B4-BE49-F238E27FC236}">
                <a16:creationId xmlns:a16="http://schemas.microsoft.com/office/drawing/2014/main" id="{1D8813C6-2997-416E-8714-3CE6B880003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6EC75E26-3C64-4CFE-B364-E66409F04948}" type="datetime3">
              <a:rPr lang="en-GB" smtClean="0"/>
              <a:t>20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051112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bg>
      <p:bgPr>
        <a:blipFill dpi="0" rotWithShape="1">
          <a:blip r:embed="rId2" cstate="screen">
            <a:alphaModFix amt="50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84C22242-90D9-43A5-891D-AF630B60580C}"/>
              </a:ext>
            </a:extLst>
          </p:cNvPr>
          <p:cNvSpPr/>
          <p:nvPr userDrawn="1"/>
        </p:nvSpPr>
        <p:spPr>
          <a:xfrm>
            <a:off x="762000" y="762001"/>
            <a:ext cx="10668000" cy="53340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154551"/>
            <a:ext cx="9144000" cy="1274451"/>
          </a:xfrm>
        </p:spPr>
        <p:txBody>
          <a:bodyPr wrap="square" anchor="b">
            <a:noAutofit/>
          </a:bodyPr>
          <a:lstStyle>
            <a:lvl1pPr algn="ctr">
              <a:defRPr sz="460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360227"/>
          </a:xfrm>
        </p:spPr>
        <p:txBody>
          <a:bodyPr>
            <a:noAutofit/>
          </a:bodyPr>
          <a:lstStyle>
            <a:lvl1pPr marL="0" indent="0" algn="ctr">
              <a:buNone/>
              <a:defRPr sz="2601">
                <a:solidFill>
                  <a:schemeClr val="bg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C2DF73B-736D-43F2-B3E5-83A81065CA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29073" y="5359145"/>
            <a:ext cx="1194436" cy="49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8627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Divider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154551"/>
            <a:ext cx="9144000" cy="1274451"/>
          </a:xfrm>
        </p:spPr>
        <p:txBody>
          <a:bodyPr wrap="square" anchor="b">
            <a:noAutofit/>
          </a:bodyPr>
          <a:lstStyle>
            <a:lvl1pPr algn="ctr">
              <a:defRPr sz="460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360227"/>
          </a:xfrm>
        </p:spPr>
        <p:txBody>
          <a:bodyPr>
            <a:noAutofit/>
          </a:bodyPr>
          <a:lstStyle>
            <a:lvl1pPr marL="0" indent="0" algn="ctr">
              <a:buNone/>
              <a:defRPr sz="2601">
                <a:solidFill>
                  <a:schemeClr val="bg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9ACE650-F00A-42C5-880B-60A3F80565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29073" y="5359145"/>
            <a:ext cx="1194436" cy="49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2288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 page with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2DAE24D2-A089-4909-843A-06F8EA54836C}"/>
              </a:ext>
            </a:extLst>
          </p:cNvPr>
          <p:cNvSpPr/>
          <p:nvPr userDrawn="1"/>
        </p:nvSpPr>
        <p:spPr>
          <a:xfrm>
            <a:off x="-1" y="0"/>
            <a:ext cx="6096002" cy="68580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8800" y="730800"/>
            <a:ext cx="4838702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95300" y="1524000"/>
            <a:ext cx="4838705" cy="456644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53CB6266-A190-4475-93D0-24E1A0529820}"/>
              </a:ext>
            </a:extLst>
          </p:cNvPr>
          <p:cNvSpPr/>
          <p:nvPr userDrawn="1"/>
        </p:nvSpPr>
        <p:spPr>
          <a:xfrm>
            <a:off x="495300" y="1263314"/>
            <a:ext cx="889348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3A92CC3-986B-4719-AC8D-922D4F903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6B3D7EC-FFA5-4591-AE3A-48E4B3A483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ladsholder til dato 4">
            <a:extLst>
              <a:ext uri="{FF2B5EF4-FFF2-40B4-BE49-F238E27FC236}">
                <a16:creationId xmlns:a16="http://schemas.microsoft.com/office/drawing/2014/main" id="{78C1FAAD-76B9-4893-8F8B-56605F6086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5DE35392-1B94-4D89-B446-9BC7C15DE9D9}" type="datetime3">
              <a:rPr lang="en-GB" smtClean="0"/>
              <a:t>20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179063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 page with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2DAE24D2-A089-4909-843A-06F8EA54836C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552B51E-0503-4C2D-9115-06E10CBD920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858001" y="730800"/>
            <a:ext cx="4854574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FA7E821B-7984-492D-A278-C8267B4AF3C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858001" y="1524001"/>
            <a:ext cx="4854574" cy="45720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933FB9FA-69FC-43C5-ABC0-FAE088390B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5FF85A3C-552D-4822-925B-32670307D6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7EE35F-EF45-491D-AB82-205CB98CF534}"/>
              </a:ext>
            </a:extLst>
          </p:cNvPr>
          <p:cNvSpPr/>
          <p:nvPr userDrawn="1"/>
        </p:nvSpPr>
        <p:spPr>
          <a:xfrm>
            <a:off x="6858000" y="1263314"/>
            <a:ext cx="889348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ladsholder til dato 4">
            <a:extLst>
              <a:ext uri="{FF2B5EF4-FFF2-40B4-BE49-F238E27FC236}">
                <a16:creationId xmlns:a16="http://schemas.microsoft.com/office/drawing/2014/main" id="{4CF1BEFB-1EAD-4428-B2C4-50289E264CD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4B43B607-DB3D-4231-9A36-7F36F0A7E2ED}" type="datetime3">
              <a:rPr lang="en-GB" smtClean="0"/>
              <a:t>20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8502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kom_dia 4">
    <p:bg>
      <p:bgPr>
        <a:gradFill>
          <a:gsLst>
            <a:gs pos="100000">
              <a:srgbClr val="2FC0B2"/>
            </a:gs>
            <a:gs pos="15000">
              <a:srgbClr val="6559A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65B49E-E01D-C8F1-6037-771B748855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396480" cy="2387600"/>
          </a:xfrm>
        </p:spPr>
        <p:txBody>
          <a:bodyPr anchor="b">
            <a:normAutofit/>
          </a:bodyPr>
          <a:lstStyle>
            <a:lvl1pPr algn="l">
              <a:defRPr sz="11500" b="0" i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nl-NL"/>
              <a:t>Welkom!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81EEC9E-86AF-C6D3-7042-8506F50B6A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LOCATIE NAAM EN PLAATS</a:t>
            </a:r>
          </a:p>
          <a:p>
            <a:r>
              <a:rPr lang="nl-NL"/>
              <a:t>DATUM VOLUIT GESCHREVEN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20F8873C-0244-32C7-D3BE-58D94A7135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4494" y="540898"/>
            <a:ext cx="1516546" cy="633869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492FA480-8241-8E02-0B99-B8663ED0740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587482" y="540898"/>
            <a:ext cx="1532736" cy="1977725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8641845E-E8ED-6632-9178-41EC0386F6ED}"/>
              </a:ext>
            </a:extLst>
          </p:cNvPr>
          <p:cNvSpPr txBox="1">
            <a:spLocks/>
          </p:cNvSpPr>
          <p:nvPr userDrawn="1"/>
        </p:nvSpPr>
        <p:spPr>
          <a:xfrm>
            <a:off x="8789210" y="2518623"/>
            <a:ext cx="3129280" cy="177349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CYBER-SECURITY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2CF73628-FF5D-777B-A2AC-B3B36842B08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486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mparis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5" y="730800"/>
            <a:ext cx="4854577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5" y="1524000"/>
            <a:ext cx="4854580" cy="456644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552B51E-0503-4C2D-9115-06E10CBD920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858001" y="730800"/>
            <a:ext cx="4854574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bg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FA7E821B-7984-492D-A278-C8267B4AF3C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858000" y="1523991"/>
            <a:ext cx="4854573" cy="457201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9FC5DCC0-187B-438A-8675-224B04D89B11}"/>
              </a:ext>
            </a:extLst>
          </p:cNvPr>
          <p:cNvSpPr/>
          <p:nvPr userDrawn="1"/>
        </p:nvSpPr>
        <p:spPr>
          <a:xfrm>
            <a:off x="4953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26562C98-559A-42DD-B5C4-97FC17613E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0B5309A0-B7D8-4C02-96F7-436A61CC3F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B62EF538-62B7-4B76-9801-503DFE344439}"/>
              </a:ext>
            </a:extLst>
          </p:cNvPr>
          <p:cNvSpPr/>
          <p:nvPr userDrawn="1"/>
        </p:nvSpPr>
        <p:spPr>
          <a:xfrm>
            <a:off x="6858000" y="1263314"/>
            <a:ext cx="889348" cy="457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Pladsholder til dato 4">
            <a:extLst>
              <a:ext uri="{FF2B5EF4-FFF2-40B4-BE49-F238E27FC236}">
                <a16:creationId xmlns:a16="http://schemas.microsoft.com/office/drawing/2014/main" id="{842A5222-8C0D-4904-9D7F-450B9DE8897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E24A24E5-E9DE-4967-B2C0-8F5D958C0062}" type="datetime3">
              <a:rPr lang="en-GB" smtClean="0"/>
              <a:t>20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341569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84C22242-90D9-43A5-891D-AF630B60580C}"/>
              </a:ext>
            </a:extLst>
          </p:cNvPr>
          <p:cNvSpPr/>
          <p:nvPr userDrawn="1"/>
        </p:nvSpPr>
        <p:spPr>
          <a:xfrm>
            <a:off x="762000" y="762001"/>
            <a:ext cx="10668000" cy="533400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154551"/>
            <a:ext cx="9144000" cy="1274451"/>
          </a:xfrm>
        </p:spPr>
        <p:txBody>
          <a:bodyPr wrap="square" anchor="b">
            <a:noAutofit/>
          </a:bodyPr>
          <a:lstStyle>
            <a:lvl1pPr algn="ctr">
              <a:defRPr sz="460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360227"/>
          </a:xfrm>
        </p:spPr>
        <p:txBody>
          <a:bodyPr>
            <a:noAutofit/>
          </a:bodyPr>
          <a:lstStyle>
            <a:lvl1pPr marL="0" indent="0" algn="ctr">
              <a:buNone/>
              <a:defRPr sz="2601"/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C83147A-93E9-403F-B036-660D086F05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29073" y="5359146"/>
            <a:ext cx="1194436" cy="49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7731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vider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154551"/>
            <a:ext cx="9144000" cy="1274451"/>
          </a:xfrm>
        </p:spPr>
        <p:txBody>
          <a:bodyPr wrap="square" anchor="b">
            <a:noAutofit/>
          </a:bodyPr>
          <a:lstStyle>
            <a:lvl1pPr algn="ctr">
              <a:defRPr sz="4601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360227"/>
          </a:xfrm>
        </p:spPr>
        <p:txBody>
          <a:bodyPr>
            <a:noAutofit/>
          </a:bodyPr>
          <a:lstStyle>
            <a:lvl1pPr marL="0" indent="0" algn="ctr">
              <a:buNone/>
              <a:defRPr sz="2601"/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9CA154C-3DB9-4121-8081-065CB2AEFBA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029073" y="5359146"/>
            <a:ext cx="1194436" cy="49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54790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 page with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58A6FE3B-A2A0-4196-BA1A-77F2961D63D6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2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4" y="730800"/>
            <a:ext cx="4854578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5" y="1524000"/>
            <a:ext cx="4854580" cy="4566443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80B6B877-AAF3-48AB-8CDF-F6C22E9636E5}"/>
              </a:ext>
            </a:extLst>
          </p:cNvPr>
          <p:cNvSpPr/>
          <p:nvPr userDrawn="1"/>
        </p:nvSpPr>
        <p:spPr>
          <a:xfrm>
            <a:off x="4953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8311723-0F9C-4E94-B82A-509F3A24AC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2FF5C55-B6E6-492E-B71E-8DDF3F1726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Pladsholder til dato 4">
            <a:extLst>
              <a:ext uri="{FF2B5EF4-FFF2-40B4-BE49-F238E27FC236}">
                <a16:creationId xmlns:a16="http://schemas.microsoft.com/office/drawing/2014/main" id="{DFF7C755-44E8-4110-960E-69D74EA1F94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03B57C0D-702E-4C18-B0C7-76C12A4AD50F}" type="datetime3">
              <a:rPr lang="en-GB" smtClean="0"/>
              <a:t>20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593647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 page with pictu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2DAE24D2-A089-4909-843A-06F8EA54836C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1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552B51E-0503-4C2D-9115-06E10CBD920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858001" y="730800"/>
            <a:ext cx="4854574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FA7E821B-7984-492D-A278-C8267B4AF3C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858001" y="1524001"/>
            <a:ext cx="4854574" cy="457200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CA1FC752-AE8A-475E-965B-ADE0BFE8D5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FC0F786D-2630-4D55-BA6C-68478FA419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113DE77-EF7D-4B51-AB78-B793AB4815F0}"/>
              </a:ext>
            </a:extLst>
          </p:cNvPr>
          <p:cNvSpPr/>
          <p:nvPr userDrawn="1"/>
        </p:nvSpPr>
        <p:spPr>
          <a:xfrm>
            <a:off x="68580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ladsholder til dato 4">
            <a:extLst>
              <a:ext uri="{FF2B5EF4-FFF2-40B4-BE49-F238E27FC236}">
                <a16:creationId xmlns:a16="http://schemas.microsoft.com/office/drawing/2014/main" id="{2DF52C79-DA53-4F12-A6DA-DE4F69AAC7A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D89130DF-26DB-4E56-AAC0-386D17C1297C}" type="datetime3">
              <a:rPr lang="en-GB" smtClean="0"/>
              <a:t>20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517251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mparison Content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6F4F14-3BA0-480F-97B8-C7188F0512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9209"/>
            <a:ext cx="5616576" cy="441923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C08331B-F2E4-418E-B557-D90599E4BDD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79425" y="1524000"/>
            <a:ext cx="4854575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460F123-0456-4FED-94DC-E3C4876EB34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858000" y="1524000"/>
            <a:ext cx="4854574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BFB42573-D0D4-485C-BF1E-B060E93FA6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7D04D4-1CA4-44E8-A952-146A4F58B782}" type="datetime3">
              <a:rPr lang="en-GB" smtClean="0"/>
              <a:t>20 September, 2023</a:t>
            </a:fld>
            <a:endParaRPr lang="en-GB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6EBD52E7-FFEA-4D1F-B3C7-469D0C4AD9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41D2FBD8-E908-4E7B-B587-8272D1376D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t>‹#›</a:t>
            </a:fld>
            <a:endParaRPr lang="en-GB"/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0FA47419-3E24-4D71-B457-CF439040580C}"/>
              </a:ext>
            </a:extLst>
          </p:cNvPr>
          <p:cNvSpPr/>
          <p:nvPr userDrawn="1"/>
        </p:nvSpPr>
        <p:spPr>
          <a:xfrm>
            <a:off x="4953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641294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5" y="730800"/>
            <a:ext cx="4854577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5" y="1524000"/>
            <a:ext cx="4854580" cy="4566443"/>
          </a:xfrm>
        </p:spPr>
        <p:txBody>
          <a:bodyPr/>
          <a:lstStyle>
            <a:lvl1pPr>
              <a:defRPr/>
            </a:lvl1pPr>
            <a:lvl2pPr>
              <a:defRPr/>
            </a:lvl2pPr>
            <a:lvl3pPr marL="511175" indent="-166688"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552B51E-0503-4C2D-9115-06E10CBD920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858001" y="730800"/>
            <a:ext cx="4854574" cy="442800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FA7E821B-7984-492D-A278-C8267B4AF3C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858001" y="1523991"/>
            <a:ext cx="4854574" cy="4572010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6798FB4E-655A-440C-A664-C46375774363}"/>
              </a:ext>
            </a:extLst>
          </p:cNvPr>
          <p:cNvSpPr/>
          <p:nvPr userDrawn="1"/>
        </p:nvSpPr>
        <p:spPr>
          <a:xfrm>
            <a:off x="4953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Pladsholder til sidefod 13">
            <a:extLst>
              <a:ext uri="{FF2B5EF4-FFF2-40B4-BE49-F238E27FC236}">
                <a16:creationId xmlns:a16="http://schemas.microsoft.com/office/drawing/2014/main" id="{7915CFC8-10A3-40C0-AF71-72C002F020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15" name="Pladsholder til slidenummer 14">
            <a:extLst>
              <a:ext uri="{FF2B5EF4-FFF2-40B4-BE49-F238E27FC236}">
                <a16:creationId xmlns:a16="http://schemas.microsoft.com/office/drawing/2014/main" id="{CF3266DB-3F1B-4013-9955-21F0CE18F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B550E7BF-480E-4039-BA1A-82F16178C31A}"/>
              </a:ext>
            </a:extLst>
          </p:cNvPr>
          <p:cNvSpPr/>
          <p:nvPr userDrawn="1"/>
        </p:nvSpPr>
        <p:spPr>
          <a:xfrm>
            <a:off x="68580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Pladsholder til dato 4">
            <a:extLst>
              <a:ext uri="{FF2B5EF4-FFF2-40B4-BE49-F238E27FC236}">
                <a16:creationId xmlns:a16="http://schemas.microsoft.com/office/drawing/2014/main" id="{4291EF18-EE28-40C1-B71D-F92E622C65F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77DB9A54-5F24-47DB-B87C-282434A314E7}" type="datetime3">
              <a:rPr lang="en-GB" smtClean="0"/>
              <a:t>20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292317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_2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26AAC8-DA52-4CF1-9151-8ECFFB1AC7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21200"/>
            <a:ext cx="11233148" cy="428400"/>
          </a:xfrm>
        </p:spPr>
        <p:txBody>
          <a:bodyPr wrap="square" anchor="t">
            <a:sp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7" y="846000"/>
            <a:ext cx="4572000" cy="333374"/>
          </a:xfrm>
        </p:spPr>
        <p:txBody>
          <a:bodyPr anchor="t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5" y="1524000"/>
            <a:ext cx="4854580" cy="456644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0552B51E-0503-4C2D-9115-06E10CBD9204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858001" y="846000"/>
            <a:ext cx="4854572" cy="333374"/>
          </a:xfrm>
        </p:spPr>
        <p:txBody>
          <a:bodyPr anchor="t"/>
          <a:lstStyle>
            <a:lvl1pPr marL="0" indent="0"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FA7E821B-7984-492D-A278-C8267B4AF3C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858001" y="1523991"/>
            <a:ext cx="4854574" cy="457201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7ABEB36B-755A-47BC-82BE-BC99085377A2}"/>
              </a:ext>
            </a:extLst>
          </p:cNvPr>
          <p:cNvSpPr/>
          <p:nvPr userDrawn="1"/>
        </p:nvSpPr>
        <p:spPr>
          <a:xfrm>
            <a:off x="4953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79D55309-FA6F-4EF6-94E1-E3D09B0E08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rIns="90000"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DD275954-4D6F-4C61-87CA-2A451DE64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E8C377F4-7CCE-4F59-84E4-E88E1891F857}"/>
              </a:ext>
            </a:extLst>
          </p:cNvPr>
          <p:cNvSpPr/>
          <p:nvPr userDrawn="1"/>
        </p:nvSpPr>
        <p:spPr>
          <a:xfrm>
            <a:off x="6858000" y="1263314"/>
            <a:ext cx="889348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Pladsholder til dato 4">
            <a:extLst>
              <a:ext uri="{FF2B5EF4-FFF2-40B4-BE49-F238E27FC236}">
                <a16:creationId xmlns:a16="http://schemas.microsoft.com/office/drawing/2014/main" id="{5FB3F0B9-822D-400C-BA4B-CCA6FE9138C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fld id="{870FE5E0-97CB-4458-AD29-7EB152746F09}" type="datetime3">
              <a:rPr lang="en-GB" smtClean="0"/>
              <a:t>20 September, 20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156875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o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226AAC8-DA52-4CF1-9151-8ECFFB1AC7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133524"/>
            <a:ext cx="11233148" cy="221599"/>
          </a:xfrm>
        </p:spPr>
        <p:txBody>
          <a:bodyPr wrap="square" anchor="t">
            <a:spAutoFit/>
          </a:bodyPr>
          <a:lstStyle>
            <a:lvl1pPr>
              <a:defRPr sz="1600"/>
            </a:lvl1pPr>
          </a:lstStyle>
          <a:p>
            <a:r>
              <a:rPr lang="en-GB"/>
              <a:t>[report slide] Click to edit Master title styl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A3425E-2B2B-405F-91C3-A5943800A5E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79426" y="400169"/>
            <a:ext cx="4854573" cy="201456"/>
          </a:xfrm>
        </p:spPr>
        <p:txBody>
          <a:bodyPr anchor="t"/>
          <a:lstStyle>
            <a:lvl1pPr marL="0" indent="0">
              <a:buNone/>
              <a:defRPr sz="1200" b="0">
                <a:solidFill>
                  <a:schemeClr val="accent1"/>
                </a:solidFill>
                <a:latin typeface="+mj-lt"/>
              </a:defRPr>
            </a:lvl1pPr>
            <a:lvl2pPr marL="457211" indent="0">
              <a:buNone/>
              <a:defRPr sz="2000" b="1"/>
            </a:lvl2pPr>
            <a:lvl3pPr marL="914422" indent="0">
              <a:buNone/>
              <a:defRPr sz="1801" b="1"/>
            </a:lvl3pPr>
            <a:lvl4pPr marL="1371635" indent="0">
              <a:buNone/>
              <a:defRPr sz="1600" b="1"/>
            </a:lvl4pPr>
            <a:lvl5pPr marL="1828846" indent="0">
              <a:buNone/>
              <a:defRPr sz="1600" b="1"/>
            </a:lvl5pPr>
            <a:lvl6pPr marL="2286057" indent="0">
              <a:buNone/>
              <a:defRPr sz="1600" b="1"/>
            </a:lvl6pPr>
            <a:lvl7pPr marL="2743268" indent="0">
              <a:buNone/>
              <a:defRPr sz="1600" b="1"/>
            </a:lvl7pPr>
            <a:lvl8pPr marL="3200481" indent="0">
              <a:buNone/>
              <a:defRPr sz="1600" b="1"/>
            </a:lvl8pPr>
            <a:lvl9pPr marL="3657692" indent="0">
              <a:buNone/>
              <a:defRPr sz="1600" b="1"/>
            </a:lvl9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1BE0FCEF-9E11-43C0-9409-AF3DF8D31B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79424" y="801862"/>
            <a:ext cx="5436576" cy="5294137"/>
          </a:xfrm>
        </p:spPr>
        <p:txBody>
          <a:bodyPr numCol="2" spcCol="180000"/>
          <a:lstStyle>
            <a:lvl1pPr marL="85725" indent="-85725">
              <a:lnSpc>
                <a:spcPts val="1200"/>
              </a:lnSpc>
              <a:spcBef>
                <a:spcPts val="0"/>
              </a:spcBef>
              <a:defRPr sz="900"/>
            </a:lvl1pPr>
            <a:lvl2pPr marL="180975" indent="-95250">
              <a:lnSpc>
                <a:spcPts val="1200"/>
              </a:lnSpc>
              <a:spcBef>
                <a:spcPts val="0"/>
              </a:spcBef>
              <a:defRPr sz="900"/>
            </a:lvl2pPr>
            <a:lvl3pPr marL="266700" indent="-85725">
              <a:lnSpc>
                <a:spcPts val="1200"/>
              </a:lnSpc>
              <a:spcBef>
                <a:spcPts val="0"/>
              </a:spcBef>
              <a:defRPr sz="900"/>
            </a:lvl3pPr>
            <a:lvl4pPr marL="266700" indent="-85725">
              <a:lnSpc>
                <a:spcPts val="1200"/>
              </a:lnSpc>
              <a:spcBef>
                <a:spcPts val="0"/>
              </a:spcBef>
              <a:defRPr sz="900"/>
            </a:lvl4pPr>
            <a:lvl5pPr marL="266700" indent="-85725">
              <a:lnSpc>
                <a:spcPts val="1200"/>
              </a:lnSpc>
              <a:spcBef>
                <a:spcPts val="0"/>
              </a:spcBef>
              <a:defRPr sz="900"/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FA7E821B-7984-492D-A278-C8267B4AF3C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76000" y="801190"/>
            <a:ext cx="5436575" cy="5294811"/>
          </a:xfrm>
        </p:spPr>
        <p:txBody>
          <a:bodyPr numCol="2" spcCol="180000"/>
          <a:lstStyle>
            <a:lvl1pPr marL="85725" indent="-85725">
              <a:lnSpc>
                <a:spcPts val="1200"/>
              </a:lnSpc>
              <a:spcBef>
                <a:spcPts val="0"/>
              </a:spcBef>
              <a:defRPr sz="900"/>
            </a:lvl1pPr>
            <a:lvl2pPr marL="180975" indent="-95250">
              <a:lnSpc>
                <a:spcPts val="1200"/>
              </a:lnSpc>
              <a:spcBef>
                <a:spcPts val="0"/>
              </a:spcBef>
              <a:defRPr sz="900"/>
            </a:lvl2pPr>
            <a:lvl3pPr marL="266700" indent="-85725">
              <a:lnSpc>
                <a:spcPts val="1200"/>
              </a:lnSpc>
              <a:spcBef>
                <a:spcPts val="0"/>
              </a:spcBef>
              <a:defRPr sz="900"/>
            </a:lvl3pPr>
            <a:lvl4pPr marL="266700" indent="-85725">
              <a:lnSpc>
                <a:spcPts val="1200"/>
              </a:lnSpc>
              <a:spcBef>
                <a:spcPts val="0"/>
              </a:spcBef>
              <a:defRPr sz="900"/>
            </a:lvl4pPr>
            <a:lvl5pPr marL="266700" indent="-85725">
              <a:lnSpc>
                <a:spcPts val="1200"/>
              </a:lnSpc>
              <a:spcBef>
                <a:spcPts val="0"/>
              </a:spcBef>
              <a:defRPr sz="900"/>
            </a:lvl5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3478E48B-0701-47EE-A005-110273EBE9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2DF6DC-EF6A-4D3E-B8A6-E111811768FB}" type="datetime3">
              <a:rPr lang="en-GB" smtClean="0"/>
              <a:t>20 September, 2023</a:t>
            </a:fld>
            <a:endParaRPr lang="en-GB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8381EBA9-0FC3-4340-A6C9-1E6FEE9B6F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C1A2570B-A601-4798-BAF2-577A63D3EB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t>‹#›</a:t>
            </a:fld>
            <a:endParaRPr lang="en-GB"/>
          </a:p>
        </p:txBody>
      </p:sp>
      <p:sp>
        <p:nvSpPr>
          <p:cNvPr id="13" name="Rectangle 18">
            <a:extLst>
              <a:ext uri="{FF2B5EF4-FFF2-40B4-BE49-F238E27FC236}">
                <a16:creationId xmlns:a16="http://schemas.microsoft.com/office/drawing/2014/main" id="{443F4EBF-E243-41CB-9483-74AE10E74D60}"/>
              </a:ext>
            </a:extLst>
          </p:cNvPr>
          <p:cNvSpPr/>
          <p:nvPr userDrawn="1"/>
        </p:nvSpPr>
        <p:spPr>
          <a:xfrm>
            <a:off x="479424" y="622677"/>
            <a:ext cx="889348" cy="45719"/>
          </a:xfrm>
          <a:prstGeom prst="rect">
            <a:avLst/>
          </a:prstGeom>
          <a:solidFill>
            <a:srgbClr val="248D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219557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F24F51C5-EAC4-469A-B6CC-69FF9155FB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AE14DB8D-4172-4A72-ADE5-EDE5CC524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42140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kom_dia 5">
    <p:bg>
      <p:bgPr>
        <a:gradFill>
          <a:gsLst>
            <a:gs pos="99000">
              <a:srgbClr val="05419B"/>
            </a:gs>
            <a:gs pos="14000">
              <a:srgbClr val="2FC0B2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65B49E-E01D-C8F1-6037-771B748855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10640" y="2178219"/>
            <a:ext cx="7396480" cy="2387600"/>
          </a:xfrm>
        </p:spPr>
        <p:txBody>
          <a:bodyPr anchor="b">
            <a:normAutofit/>
          </a:bodyPr>
          <a:lstStyle>
            <a:lvl1pPr algn="l">
              <a:defRPr sz="11500" b="0" i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</a:lstStyle>
          <a:p>
            <a:r>
              <a:rPr lang="nl-NL"/>
              <a:t>Welkom!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81EEC9E-86AF-C6D3-7042-8506F50B6A2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715828"/>
            <a:ext cx="7086600" cy="1655762"/>
          </a:xfrm>
        </p:spPr>
        <p:txBody>
          <a:bodyPr>
            <a:normAutofit/>
          </a:bodyPr>
          <a:lstStyle>
            <a:lvl1pPr marL="0" indent="0" algn="l">
              <a:lnSpc>
                <a:spcPts val="2000"/>
              </a:lnSpc>
              <a:buNone/>
              <a:defRPr sz="2400" b="0" i="0" cap="all" baseline="0">
                <a:solidFill>
                  <a:schemeClr val="bg1"/>
                </a:solidFill>
                <a:latin typeface="IBM Plex Sans Light" panose="020B040305020300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LOCATIE NAAM EN PLAATS</a:t>
            </a:r>
          </a:p>
          <a:p>
            <a:r>
              <a:rPr lang="nl-NL"/>
              <a:t>DATUM VOLUIT GESCHREVEN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20F8873C-0244-32C7-D3BE-58D94A7135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4494" y="540898"/>
            <a:ext cx="1516546" cy="633869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492FA480-8241-8E02-0B99-B8663ED0740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9407611" y="751920"/>
            <a:ext cx="1892478" cy="1555681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8641845E-E8ED-6632-9178-41EC0386F6ED}"/>
              </a:ext>
            </a:extLst>
          </p:cNvPr>
          <p:cNvSpPr txBox="1">
            <a:spLocks/>
          </p:cNvSpPr>
          <p:nvPr userDrawn="1"/>
        </p:nvSpPr>
        <p:spPr>
          <a:xfrm>
            <a:off x="8789209" y="2518623"/>
            <a:ext cx="3298015" cy="1773498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MANAGED SERVICES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2CF73628-FF5D-777B-A2AC-B3B36842B08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4416045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8075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_full pictur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154551"/>
            <a:ext cx="9144000" cy="1274451"/>
          </a:xfrm>
        </p:spPr>
        <p:txBody>
          <a:bodyPr wrap="square" anchor="b">
            <a:noAutofit/>
          </a:bodyPr>
          <a:lstStyle>
            <a:lvl1pPr algn="ctr">
              <a:defRPr sz="460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360227"/>
          </a:xfrm>
        </p:spPr>
        <p:txBody>
          <a:bodyPr>
            <a:noAutofit/>
          </a:bodyPr>
          <a:lstStyle>
            <a:lvl1pPr marL="0" indent="0" algn="ctr">
              <a:buNone/>
              <a:defRPr sz="2601">
                <a:solidFill>
                  <a:schemeClr val="bg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6096980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_full picture_logo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154551"/>
            <a:ext cx="9144000" cy="1274451"/>
          </a:xfrm>
        </p:spPr>
        <p:txBody>
          <a:bodyPr wrap="square" anchor="b">
            <a:noAutofit/>
          </a:bodyPr>
          <a:lstStyle>
            <a:lvl1pPr algn="ctr">
              <a:defRPr sz="460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360227"/>
          </a:xfrm>
        </p:spPr>
        <p:txBody>
          <a:bodyPr>
            <a:noAutofit/>
          </a:bodyPr>
          <a:lstStyle>
            <a:lvl1pPr marL="0" indent="0" algn="ctr">
              <a:buNone/>
              <a:defRPr sz="2601">
                <a:solidFill>
                  <a:schemeClr val="bg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5BC1584-4BC1-4B22-B452-AAEB51B0DE3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18139" y="5823088"/>
            <a:ext cx="1194436" cy="49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8646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_full picture_swirl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3880A1-789F-4299-B015-FB7511EEA18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154551"/>
            <a:ext cx="9144000" cy="1274451"/>
          </a:xfrm>
        </p:spPr>
        <p:txBody>
          <a:bodyPr wrap="square" anchor="b">
            <a:noAutofit/>
          </a:bodyPr>
          <a:lstStyle>
            <a:lvl1pPr algn="ctr">
              <a:defRPr sz="4601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D801C47-B334-4CF2-9E9F-0DC2FC00F3E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360227"/>
          </a:xfrm>
        </p:spPr>
        <p:txBody>
          <a:bodyPr>
            <a:noAutofit/>
          </a:bodyPr>
          <a:lstStyle>
            <a:lvl1pPr marL="0" indent="0" algn="ctr">
              <a:buNone/>
              <a:defRPr sz="2601">
                <a:solidFill>
                  <a:schemeClr val="bg1"/>
                </a:solidFill>
              </a:defRPr>
            </a:lvl1pPr>
            <a:lvl2pPr marL="457211" indent="0" algn="ctr">
              <a:buNone/>
              <a:defRPr sz="2000"/>
            </a:lvl2pPr>
            <a:lvl3pPr marL="914422" indent="0" algn="ctr">
              <a:buNone/>
              <a:defRPr sz="1801"/>
            </a:lvl3pPr>
            <a:lvl4pPr marL="1371635" indent="0" algn="ctr">
              <a:buNone/>
              <a:defRPr sz="1600"/>
            </a:lvl4pPr>
            <a:lvl5pPr marL="1828846" indent="0" algn="ctr">
              <a:buNone/>
              <a:defRPr sz="1600"/>
            </a:lvl5pPr>
            <a:lvl6pPr marL="2286057" indent="0" algn="ctr">
              <a:buNone/>
              <a:defRPr sz="1600"/>
            </a:lvl6pPr>
            <a:lvl7pPr marL="2743268" indent="0" algn="ctr">
              <a:buNone/>
              <a:defRPr sz="1600"/>
            </a:lvl7pPr>
            <a:lvl8pPr marL="3200481" indent="0" algn="ctr">
              <a:buNone/>
              <a:defRPr sz="1600"/>
            </a:lvl8pPr>
            <a:lvl9pPr marL="3657692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grpSp>
        <p:nvGrpSpPr>
          <p:cNvPr id="8" name="Grafik 6">
            <a:extLst>
              <a:ext uri="{FF2B5EF4-FFF2-40B4-BE49-F238E27FC236}">
                <a16:creationId xmlns:a16="http://schemas.microsoft.com/office/drawing/2014/main" id="{891C0814-5D4E-4DD7-AD41-2C934895A196}"/>
              </a:ext>
            </a:extLst>
          </p:cNvPr>
          <p:cNvGrpSpPr/>
          <p:nvPr/>
        </p:nvGrpSpPr>
        <p:grpSpPr>
          <a:xfrm>
            <a:off x="2659125" y="2154551"/>
            <a:ext cx="10820993" cy="5169784"/>
            <a:chOff x="4275441" y="346336"/>
            <a:chExt cx="3755699" cy="1794304"/>
          </a:xfrm>
          <a:solidFill>
            <a:srgbClr val="FFFFFF">
              <a:alpha val="10000"/>
            </a:srgbClr>
          </a:solidFill>
        </p:grpSpPr>
        <p:sp>
          <p:nvSpPr>
            <p:cNvPr id="10" name="Kombinationstegning: figur 9">
              <a:extLst>
                <a:ext uri="{FF2B5EF4-FFF2-40B4-BE49-F238E27FC236}">
                  <a16:creationId xmlns:a16="http://schemas.microsoft.com/office/drawing/2014/main" id="{1FB52802-BC86-4C05-8075-17319DAAB9F9}"/>
                </a:ext>
              </a:extLst>
            </p:cNvPr>
            <p:cNvSpPr/>
            <p:nvPr/>
          </p:nvSpPr>
          <p:spPr>
            <a:xfrm>
              <a:off x="4275441" y="346336"/>
              <a:ext cx="3755699" cy="1681904"/>
            </a:xfrm>
            <a:custGeom>
              <a:avLst/>
              <a:gdLst>
                <a:gd name="connsiteX0" fmla="*/ 83579 w 3755699"/>
                <a:gd name="connsiteY0" fmla="*/ 954158 h 1681904"/>
                <a:gd name="connsiteX1" fmla="*/ 1337159 w 3755699"/>
                <a:gd name="connsiteY1" fmla="*/ 1681905 h 1681904"/>
                <a:gd name="connsiteX2" fmla="*/ 1252452 w 3755699"/>
                <a:gd name="connsiteY2" fmla="*/ 1609089 h 1681904"/>
                <a:gd name="connsiteX3" fmla="*/ 517294 w 3755699"/>
                <a:gd name="connsiteY3" fmla="*/ 1162586 h 1681904"/>
                <a:gd name="connsiteX4" fmla="*/ 1550637 w 3755699"/>
                <a:gd name="connsiteY4" fmla="*/ 451456 h 1681904"/>
                <a:gd name="connsiteX5" fmla="*/ 3505656 w 3755699"/>
                <a:gd name="connsiteY5" fmla="*/ 1073237 h 1681904"/>
                <a:gd name="connsiteX6" fmla="*/ 3319300 w 3755699"/>
                <a:gd name="connsiteY6" fmla="*/ 1602492 h 1681904"/>
                <a:gd name="connsiteX7" fmla="*/ 3309200 w 3755699"/>
                <a:gd name="connsiteY7" fmla="*/ 1642158 h 1681904"/>
                <a:gd name="connsiteX8" fmla="*/ 3671648 w 3755699"/>
                <a:gd name="connsiteY8" fmla="*/ 854954 h 1681904"/>
                <a:gd name="connsiteX9" fmla="*/ 1320299 w 3755699"/>
                <a:gd name="connsiteY9" fmla="*/ 1613 h 1681904"/>
                <a:gd name="connsiteX10" fmla="*/ 83579 w 3755699"/>
                <a:gd name="connsiteY10" fmla="*/ 954158 h 1681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755699" h="1681904">
                  <a:moveTo>
                    <a:pt x="83579" y="954158"/>
                  </a:moveTo>
                  <a:cubicBezTo>
                    <a:pt x="276694" y="1265131"/>
                    <a:pt x="757813" y="1533016"/>
                    <a:pt x="1337159" y="1681905"/>
                  </a:cubicBezTo>
                  <a:cubicBezTo>
                    <a:pt x="1303276" y="1658773"/>
                    <a:pt x="1276154" y="1635642"/>
                    <a:pt x="1252452" y="1609089"/>
                  </a:cubicBezTo>
                  <a:cubicBezTo>
                    <a:pt x="910285" y="1496690"/>
                    <a:pt x="642644" y="1341204"/>
                    <a:pt x="517294" y="1162586"/>
                  </a:cubicBezTo>
                  <a:cubicBezTo>
                    <a:pt x="266513" y="795496"/>
                    <a:pt x="730690" y="477927"/>
                    <a:pt x="1550637" y="451456"/>
                  </a:cubicBezTo>
                  <a:cubicBezTo>
                    <a:pt x="2373923" y="428324"/>
                    <a:pt x="3251453" y="706146"/>
                    <a:pt x="3505656" y="1073237"/>
                  </a:cubicBezTo>
                  <a:cubicBezTo>
                    <a:pt x="3644526" y="1278325"/>
                    <a:pt x="3563240" y="1470138"/>
                    <a:pt x="3319300" y="1602492"/>
                  </a:cubicBezTo>
                  <a:lnTo>
                    <a:pt x="3309200" y="1642158"/>
                  </a:lnTo>
                  <a:cubicBezTo>
                    <a:pt x="3709033" y="1466879"/>
                    <a:pt x="3868185" y="1175781"/>
                    <a:pt x="3671648" y="854954"/>
                  </a:cubicBezTo>
                  <a:cubicBezTo>
                    <a:pt x="3363364" y="358848"/>
                    <a:pt x="2309659" y="-28197"/>
                    <a:pt x="1320299" y="1613"/>
                  </a:cubicBezTo>
                  <a:cubicBezTo>
                    <a:pt x="334278" y="28084"/>
                    <a:pt x="-221285" y="458053"/>
                    <a:pt x="83579" y="954158"/>
                  </a:cubicBezTo>
                  <a:close/>
                </a:path>
              </a:pathLst>
            </a:custGeom>
            <a:grpFill/>
            <a:ln w="81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1" name="Kombinationstegning: figur 10">
              <a:extLst>
                <a:ext uri="{FF2B5EF4-FFF2-40B4-BE49-F238E27FC236}">
                  <a16:creationId xmlns:a16="http://schemas.microsoft.com/office/drawing/2014/main" id="{ADE869D7-1B1D-4A87-8406-A43A83D22D37}"/>
                </a:ext>
              </a:extLst>
            </p:cNvPr>
            <p:cNvSpPr/>
            <p:nvPr/>
          </p:nvSpPr>
          <p:spPr>
            <a:xfrm>
              <a:off x="5758793" y="1375001"/>
              <a:ext cx="1698563" cy="765639"/>
            </a:xfrm>
            <a:custGeom>
              <a:avLst/>
              <a:gdLst>
                <a:gd name="connsiteX0" fmla="*/ 40243 w 1698563"/>
                <a:gd name="connsiteY0" fmla="*/ 444812 h 765639"/>
                <a:gd name="connsiteX1" fmla="*/ 636531 w 1698563"/>
                <a:gd name="connsiteY1" fmla="*/ 765639 h 765639"/>
                <a:gd name="connsiteX2" fmla="*/ 629771 w 1698563"/>
                <a:gd name="connsiteY2" fmla="*/ 745847 h 765639"/>
                <a:gd name="connsiteX3" fmla="*/ 240038 w 1698563"/>
                <a:gd name="connsiteY3" fmla="*/ 534162 h 765639"/>
                <a:gd name="connsiteX4" fmla="*/ 697455 w 1698563"/>
                <a:gd name="connsiteY4" fmla="*/ 203397 h 765639"/>
                <a:gd name="connsiteX5" fmla="*/ 1585085 w 1698563"/>
                <a:gd name="connsiteY5" fmla="*/ 464686 h 765639"/>
                <a:gd name="connsiteX6" fmla="*/ 1459817 w 1698563"/>
                <a:gd name="connsiteY6" fmla="*/ 726055 h 765639"/>
                <a:gd name="connsiteX7" fmla="*/ 1459817 w 1698563"/>
                <a:gd name="connsiteY7" fmla="*/ 739250 h 765639"/>
                <a:gd name="connsiteX8" fmla="*/ 1656272 w 1698563"/>
                <a:gd name="connsiteY8" fmla="*/ 365481 h 765639"/>
                <a:gd name="connsiteX9" fmla="*/ 588965 w 1698563"/>
                <a:gd name="connsiteY9" fmla="*/ 1648 h 765639"/>
                <a:gd name="connsiteX10" fmla="*/ 40243 w 1698563"/>
                <a:gd name="connsiteY10" fmla="*/ 444812 h 765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98563" h="765639">
                  <a:moveTo>
                    <a:pt x="40243" y="444812"/>
                  </a:moveTo>
                  <a:cubicBezTo>
                    <a:pt x="135050" y="587022"/>
                    <a:pt x="365469" y="706100"/>
                    <a:pt x="636531" y="765639"/>
                  </a:cubicBezTo>
                  <a:cubicBezTo>
                    <a:pt x="633110" y="759042"/>
                    <a:pt x="629771" y="752445"/>
                    <a:pt x="629771" y="745847"/>
                  </a:cubicBezTo>
                  <a:cubicBezTo>
                    <a:pt x="450176" y="699584"/>
                    <a:pt x="304545" y="623430"/>
                    <a:pt x="240038" y="534162"/>
                  </a:cubicBezTo>
                  <a:cubicBezTo>
                    <a:pt x="121448" y="372078"/>
                    <a:pt x="328165" y="223271"/>
                    <a:pt x="697455" y="203397"/>
                  </a:cubicBezTo>
                  <a:cubicBezTo>
                    <a:pt x="1066744" y="183524"/>
                    <a:pt x="1466495" y="302602"/>
                    <a:pt x="1585085" y="464686"/>
                  </a:cubicBezTo>
                  <a:cubicBezTo>
                    <a:pt x="1659611" y="567230"/>
                    <a:pt x="1602108" y="663177"/>
                    <a:pt x="1459817" y="726055"/>
                  </a:cubicBezTo>
                  <a:lnTo>
                    <a:pt x="1459817" y="739250"/>
                  </a:lnTo>
                  <a:cubicBezTo>
                    <a:pt x="1669873" y="659837"/>
                    <a:pt x="1758001" y="517627"/>
                    <a:pt x="1656272" y="365481"/>
                  </a:cubicBezTo>
                  <a:cubicBezTo>
                    <a:pt x="1513980" y="143858"/>
                    <a:pt x="1032861" y="-18225"/>
                    <a:pt x="588965" y="1648"/>
                  </a:cubicBezTo>
                  <a:cubicBezTo>
                    <a:pt x="145231" y="24780"/>
                    <a:pt x="-102048" y="223190"/>
                    <a:pt x="40243" y="444812"/>
                  </a:cubicBezTo>
                  <a:close/>
                </a:path>
              </a:pathLst>
            </a:custGeom>
            <a:grpFill/>
            <a:ln w="813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75713987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Title, subtitles, content, 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3EE2FA-B39E-4B83-B807-7E5A3187D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762001"/>
            <a:ext cx="10668000" cy="7620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63F85B0-DF32-4E48-A4A3-A443F7678D9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2000" y="1524001"/>
            <a:ext cx="10668000" cy="4572000"/>
          </a:xfrm>
        </p:spPr>
        <p:txBody>
          <a:bodyPr/>
          <a:lstStyle>
            <a:lvl1pPr>
              <a:defRPr sz="1600"/>
            </a:lvl1pPr>
            <a:lvl2pPr>
              <a:defRPr sz="1401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3D50556F-11A9-40AD-82A2-00B22C3A007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762000" y="1188721"/>
            <a:ext cx="10668000" cy="335280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1"/>
                </a:solidFill>
                <a:latin typeface="IBM Plex Sans SemiBold" panose="020B0703050203000203" pitchFamily="34" charset="0"/>
              </a:defRPr>
            </a:lvl1pPr>
            <a:lvl2pPr marL="457211" indent="0">
              <a:buNone/>
              <a:defRPr sz="1401"/>
            </a:lvl2pPr>
            <a:lvl3pPr marL="914422" indent="0">
              <a:buNone/>
              <a:defRPr sz="1200"/>
            </a:lvl3pPr>
            <a:lvl4pPr marL="1371635" indent="0">
              <a:buNone/>
              <a:defRPr sz="1001"/>
            </a:lvl4pPr>
            <a:lvl5pPr marL="1828846" indent="0">
              <a:buNone/>
              <a:defRPr sz="1001"/>
            </a:lvl5pPr>
            <a:lvl6pPr marL="2286057" indent="0">
              <a:buNone/>
              <a:defRPr sz="1001"/>
            </a:lvl6pPr>
            <a:lvl7pPr marL="2743268" indent="0">
              <a:buNone/>
              <a:defRPr sz="1001"/>
            </a:lvl7pPr>
            <a:lvl8pPr marL="3200481" indent="0">
              <a:buNone/>
              <a:defRPr sz="1001"/>
            </a:lvl8pPr>
            <a:lvl9pPr marL="3657692" indent="0">
              <a:buNone/>
              <a:defRPr sz="1001"/>
            </a:lvl9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A4D7594-905B-4CA9-BE6B-80C12F9D4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F54C527-0984-48E6-8C32-393FB98A5E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576548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716842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subtitle, conscia background, conscia logo"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25831C6-EE14-42BB-B936-F4F8A8A1B1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25831C6-EE14-42BB-B936-F4F8A8A1B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>
            <a:extLst>
              <a:ext uri="{FF2B5EF4-FFF2-40B4-BE49-F238E27FC236}">
                <a16:creationId xmlns:a16="http://schemas.microsoft.com/office/drawing/2014/main" id="{3335844B-C9F7-4974-B8C4-5CCC96AA9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762001"/>
            <a:ext cx="10668000" cy="7620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Pladsholder til tekst 3">
            <a:extLst>
              <a:ext uri="{FF2B5EF4-FFF2-40B4-BE49-F238E27FC236}">
                <a16:creationId xmlns:a16="http://schemas.microsoft.com/office/drawing/2014/main" id="{F97AC192-8D1D-4D0A-BCC3-345B5230ADE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762000" y="1188721"/>
            <a:ext cx="10668000" cy="335280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1"/>
                </a:solidFill>
                <a:latin typeface="IBM Plex Sans SemiBold" panose="020B0703050203000203" pitchFamily="34" charset="0"/>
              </a:defRPr>
            </a:lvl1pPr>
            <a:lvl2pPr marL="457211" indent="0">
              <a:buNone/>
              <a:defRPr sz="1401"/>
            </a:lvl2pPr>
            <a:lvl3pPr marL="914422" indent="0">
              <a:buNone/>
              <a:defRPr sz="1200"/>
            </a:lvl3pPr>
            <a:lvl4pPr marL="1371635" indent="0">
              <a:buNone/>
              <a:defRPr sz="1001"/>
            </a:lvl4pPr>
            <a:lvl5pPr marL="1828846" indent="0">
              <a:buNone/>
              <a:defRPr sz="1001"/>
            </a:lvl5pPr>
            <a:lvl6pPr marL="2286057" indent="0">
              <a:buNone/>
              <a:defRPr sz="1001"/>
            </a:lvl6pPr>
            <a:lvl7pPr marL="2743268" indent="0">
              <a:buNone/>
              <a:defRPr sz="1001"/>
            </a:lvl7pPr>
            <a:lvl8pPr marL="3200481" indent="0">
              <a:buNone/>
              <a:defRPr sz="1001"/>
            </a:lvl8pPr>
            <a:lvl9pPr marL="3657692" indent="0">
              <a:buNone/>
              <a:defRPr sz="1001"/>
            </a:lvl9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</p:txBody>
      </p:sp>
    </p:spTree>
    <p:extLst>
      <p:ext uri="{BB962C8B-B14F-4D97-AF65-F5344CB8AC3E}">
        <p14:creationId xmlns:p14="http://schemas.microsoft.com/office/powerpoint/2010/main" val="57258667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53A9E4-6803-45E0-B338-AED9682A94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D33BD2E7-BA80-42AA-93A3-4694C013EE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onscia Nederland </a:t>
            </a:r>
            <a:r>
              <a:rPr lang="en-GB" err="1"/>
              <a:t>tbv</a:t>
            </a:r>
            <a:r>
              <a:rPr lang="en-GB"/>
              <a:t> Thales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9E05E696-519C-49C6-8875-F482F27850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54C527-0984-48E6-8C32-393FB98A5E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29D9A73F-A072-4219-83CD-1AB9870513C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781689" y="6356352"/>
            <a:ext cx="2743200" cy="365125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141610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10ACC121-E8FB-C740-981E-C5DF9C552445}"/>
              </a:ext>
            </a:extLst>
          </p:cNvPr>
          <p:cNvSpPr/>
          <p:nvPr userDrawn="1"/>
        </p:nvSpPr>
        <p:spPr>
          <a:xfrm>
            <a:off x="0" y="823683"/>
            <a:ext cx="684082" cy="684082"/>
          </a:xfrm>
          <a:prstGeom prst="roundRect">
            <a:avLst>
              <a:gd name="adj" fmla="val 1085"/>
            </a:avLst>
          </a:prstGeom>
          <a:solidFill>
            <a:srgbClr val="33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4" name="Title 11">
            <a:extLst>
              <a:ext uri="{FF2B5EF4-FFF2-40B4-BE49-F238E27FC236}">
                <a16:creationId xmlns:a16="http://schemas.microsoft.com/office/drawing/2014/main" id="{A94D4060-1E56-524A-826A-61201A3095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840615"/>
            <a:ext cx="10515600" cy="66714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400" b="0" i="0">
                <a:solidFill>
                  <a:schemeClr val="tx2"/>
                </a:solidFill>
                <a:latin typeface="IBM Plex Sans Medium" panose="020B0503050203000203" pitchFamily="34" charset="0"/>
              </a:defRPr>
            </a:lvl1pPr>
          </a:lstStyle>
          <a:p>
            <a:r>
              <a:rPr lang="en-GB"/>
              <a:t>Table of content.</a:t>
            </a:r>
            <a:endParaRPr lang="en-NL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D9E71AC-5E51-6F46-BF53-6AEC8ADBDDEE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838200" y="1992086"/>
            <a:ext cx="4735286" cy="4332514"/>
          </a:xfrm>
          <a:prstGeom prst="rect">
            <a:avLst/>
          </a:prstGeom>
        </p:spPr>
        <p:txBody>
          <a:bodyPr/>
          <a:lstStyle>
            <a:lvl1pPr marL="514350" indent="-514350">
              <a:buFont typeface="+mj-lt"/>
              <a:buAutoNum type="arabicPeriod"/>
              <a:defRPr sz="2000" b="0" i="0">
                <a:solidFill>
                  <a:schemeClr val="tx2"/>
                </a:solidFill>
                <a:latin typeface="IBM Plex Sans Light" panose="020B0403050203000203" pitchFamily="34" charset="0"/>
              </a:defRPr>
            </a:lvl1pPr>
          </a:lstStyle>
          <a:p>
            <a:pPr lvl="0"/>
            <a:r>
              <a:rPr lang="en-NL"/>
              <a:t>Example</a:t>
            </a:r>
          </a:p>
          <a:p>
            <a:pPr lvl="0"/>
            <a:r>
              <a:rPr lang="en-NL"/>
              <a:t>Example</a:t>
            </a:r>
          </a:p>
          <a:p>
            <a:pPr lvl="0"/>
            <a:r>
              <a:rPr lang="en-NL"/>
              <a:t>Example	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C95CC95-A43A-B6AC-4CCD-F41702183E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31715" y="5088555"/>
            <a:ext cx="1335207" cy="566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48257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4E1CC603-FF5A-CC47-A2D0-166D986576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31715" y="5088555"/>
            <a:ext cx="1335207" cy="566451"/>
          </a:xfrm>
          <a:prstGeom prst="rect">
            <a:avLst/>
          </a:prstGeom>
        </p:spPr>
      </p:pic>
      <p:pic>
        <p:nvPicPr>
          <p:cNvPr id="4" name="Picture 3" descr="Graphical user interface&#10;&#10;Description automatically generated">
            <a:extLst>
              <a:ext uri="{FF2B5EF4-FFF2-40B4-BE49-F238E27FC236}">
                <a16:creationId xmlns:a16="http://schemas.microsoft.com/office/drawing/2014/main" id="{F8F315FC-18C9-024B-BE97-F5859A022DF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418" y="1168224"/>
            <a:ext cx="9609758" cy="5405489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AD68439-9D11-DA4B-8BD1-600CB001583F}"/>
              </a:ext>
            </a:extLst>
          </p:cNvPr>
          <p:cNvSpPr/>
          <p:nvPr userDrawn="1"/>
        </p:nvSpPr>
        <p:spPr>
          <a:xfrm>
            <a:off x="0" y="823683"/>
            <a:ext cx="684082" cy="684082"/>
          </a:xfrm>
          <a:prstGeom prst="roundRect">
            <a:avLst>
              <a:gd name="adj" fmla="val 1085"/>
            </a:avLst>
          </a:prstGeom>
          <a:solidFill>
            <a:srgbClr val="33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" name="Title 11">
            <a:extLst>
              <a:ext uri="{FF2B5EF4-FFF2-40B4-BE49-F238E27FC236}">
                <a16:creationId xmlns:a16="http://schemas.microsoft.com/office/drawing/2014/main" id="{5472AD16-CE1E-1949-B38C-736CBD917F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936445"/>
            <a:ext cx="10515600" cy="45855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chemeClr val="tx2"/>
                </a:solidFill>
                <a:latin typeface="IBM Plex Sans Medium" panose="020B0503050203000203" pitchFamily="34" charset="0"/>
              </a:defRPr>
            </a:lvl1pPr>
          </a:lstStyle>
          <a:p>
            <a:r>
              <a:rPr lang="en-GB"/>
              <a:t>Portfolio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392171271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tner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4E1CC603-FF5A-CC47-A2D0-166D986576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31715" y="5088555"/>
            <a:ext cx="1335207" cy="566451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99377313-53F8-B44E-B011-4080735463A5}"/>
              </a:ext>
            </a:extLst>
          </p:cNvPr>
          <p:cNvSpPr/>
          <p:nvPr userDrawn="1"/>
        </p:nvSpPr>
        <p:spPr>
          <a:xfrm>
            <a:off x="0" y="823683"/>
            <a:ext cx="684082" cy="684082"/>
          </a:xfrm>
          <a:prstGeom prst="roundRect">
            <a:avLst>
              <a:gd name="adj" fmla="val 1085"/>
            </a:avLst>
          </a:prstGeom>
          <a:solidFill>
            <a:srgbClr val="338A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" name="Title 11">
            <a:extLst>
              <a:ext uri="{FF2B5EF4-FFF2-40B4-BE49-F238E27FC236}">
                <a16:creationId xmlns:a16="http://schemas.microsoft.com/office/drawing/2014/main" id="{02E272E7-4D62-1149-B5C7-3030FA7EEA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936445"/>
            <a:ext cx="10515600" cy="45855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chemeClr val="tx2"/>
                </a:solidFill>
                <a:latin typeface="IBM Plex Sans Medium" panose="020B0503050203000203" pitchFamily="34" charset="0"/>
              </a:defRPr>
            </a:lvl1pPr>
          </a:lstStyle>
          <a:p>
            <a:r>
              <a:rPr lang="en-GB"/>
              <a:t>Partners</a:t>
            </a:r>
            <a:endParaRPr lang="en-NL"/>
          </a:p>
        </p:txBody>
      </p:sp>
      <p:pic>
        <p:nvPicPr>
          <p:cNvPr id="9" name="Picture 8" descr="A screenshot of a computer&#10;&#10;Description automatically generated with medium confidence">
            <a:extLst>
              <a:ext uri="{FF2B5EF4-FFF2-40B4-BE49-F238E27FC236}">
                <a16:creationId xmlns:a16="http://schemas.microsoft.com/office/drawing/2014/main" id="{6A2AB86B-9C09-2E4D-882E-D594ABA5AA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077" y="563634"/>
            <a:ext cx="10787743" cy="6068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8105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>
            <a:extLst>
              <a:ext uri="{FF2B5EF4-FFF2-40B4-BE49-F238E27FC236}">
                <a16:creationId xmlns:a16="http://schemas.microsoft.com/office/drawing/2014/main" id="{3A083209-980C-57A6-08E0-485589EC22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552450" y="-1112281"/>
            <a:ext cx="12896850" cy="8060531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519A69CB-BA9E-1166-022D-71A84515FD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59690" y="1198879"/>
            <a:ext cx="2798931" cy="2925009"/>
          </a:xfrm>
          <a:prstGeom prst="rect">
            <a:avLst/>
          </a:prstGeom>
          <a:effectLst>
            <a:outerShdw blurRad="308211" dist="38100" dir="2700000" algn="tl" rotWithShape="0">
              <a:prstClr val="black"/>
            </a:outerShdw>
          </a:effectLst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F0C5A26-0021-CDCF-A3F1-DE392CB0F41A}"/>
              </a:ext>
            </a:extLst>
          </p:cNvPr>
          <p:cNvSpPr txBox="1">
            <a:spLocks/>
          </p:cNvSpPr>
          <p:nvPr userDrawn="1"/>
        </p:nvSpPr>
        <p:spPr>
          <a:xfrm>
            <a:off x="3841290" y="3274422"/>
            <a:ext cx="3999291" cy="2622963"/>
          </a:xfrm>
          <a:prstGeom prst="rect">
            <a:avLst/>
          </a:prstGeom>
          <a:effectLst>
            <a:outerShdw blurRad="308211" dist="38100" dir="2700000" algn="tl" rotWithShape="0">
              <a:prstClr val="black"/>
            </a:outerShdw>
          </a:effectLst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HYBRID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CLOUD</a:t>
            </a: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8941BE46-492C-93AF-D995-1610584579C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1080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C398545D-8564-FC46-B348-A907C06EAED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14317" y="4878542"/>
            <a:ext cx="2277683" cy="2277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57679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subtitle, blank, conscia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3EE2FA-B39E-4B83-B807-7E5A3187D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762001"/>
            <a:ext cx="10668000" cy="762000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3D50556F-11A9-40AD-82A2-00B22C3A007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762000" y="1188721"/>
            <a:ext cx="10668000" cy="335280"/>
          </a:xfrm>
        </p:spPr>
        <p:txBody>
          <a:bodyPr/>
          <a:lstStyle>
            <a:lvl1pPr marL="0" indent="0">
              <a:buNone/>
              <a:defRPr sz="1600">
                <a:solidFill>
                  <a:schemeClr val="accent1"/>
                </a:solidFill>
                <a:latin typeface="IBM Plex Sans SemiBold" panose="020B0703050203000203" pitchFamily="34" charset="0"/>
              </a:defRPr>
            </a:lvl1pPr>
            <a:lvl2pPr marL="457211" indent="0">
              <a:buNone/>
              <a:defRPr sz="1401"/>
            </a:lvl2pPr>
            <a:lvl3pPr marL="914422" indent="0">
              <a:buNone/>
              <a:defRPr sz="1200"/>
            </a:lvl3pPr>
            <a:lvl4pPr marL="1371635" indent="0">
              <a:buNone/>
              <a:defRPr sz="1001"/>
            </a:lvl4pPr>
            <a:lvl5pPr marL="1828846" indent="0">
              <a:buNone/>
              <a:defRPr sz="1001"/>
            </a:lvl5pPr>
            <a:lvl6pPr marL="2286057" indent="0">
              <a:buNone/>
              <a:defRPr sz="1001"/>
            </a:lvl6pPr>
            <a:lvl7pPr marL="2743268" indent="0">
              <a:buNone/>
              <a:defRPr sz="1001"/>
            </a:lvl7pPr>
            <a:lvl8pPr marL="3200481" indent="0">
              <a:buNone/>
              <a:defRPr sz="1001"/>
            </a:lvl8pPr>
            <a:lvl9pPr marL="3657692" indent="0">
              <a:buNone/>
              <a:defRPr sz="1001"/>
            </a:lvl9pPr>
          </a:lstStyle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A4D7594-905B-4CA9-BE6B-80C12F9D4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964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3F54C527-0984-48E6-8C32-393FB98A5E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272778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fbeelding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CE0CF72C-B12C-07AA-95BA-87F01A0ACD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914401" y="365125"/>
            <a:ext cx="10945336" cy="57816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66AF1246-FE9F-A0D9-44A8-A07B1F35D0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D30B82-C315-EF46-ADA1-30F46AE24C25}" type="datetimeFigureOut">
              <a:rPr lang="nl-NL" smtClean="0"/>
              <a:t>20-9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D096B27-0C7A-1E54-F6D0-886FDF400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8663008F-E384-4215-35B0-DCB0914D42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54CE747-A75F-3546-82CA-253856803BA8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409835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ussen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>
            <a:extLst>
              <a:ext uri="{FF2B5EF4-FFF2-40B4-BE49-F238E27FC236}">
                <a16:creationId xmlns:a16="http://schemas.microsoft.com/office/drawing/2014/main" id="{3A083209-980C-57A6-08E0-485589EC22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316510"/>
            <a:ext cx="12273280" cy="8174510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519A69CB-BA9E-1166-022D-71A84515FD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725715" y="1198879"/>
            <a:ext cx="2266881" cy="2925009"/>
          </a:xfrm>
          <a:prstGeom prst="rect">
            <a:avLst/>
          </a:prstGeom>
          <a:effectLst>
            <a:outerShdw blurRad="308211" dist="38100" dir="2700000" algn="tl" rotWithShape="0">
              <a:prstClr val="black"/>
            </a:outerShdw>
          </a:effectLst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F0C5A26-0021-CDCF-A3F1-DE392CB0F41A}"/>
              </a:ext>
            </a:extLst>
          </p:cNvPr>
          <p:cNvSpPr txBox="1">
            <a:spLocks/>
          </p:cNvSpPr>
          <p:nvPr userDrawn="1"/>
        </p:nvSpPr>
        <p:spPr>
          <a:xfrm>
            <a:off x="3841290" y="3274422"/>
            <a:ext cx="3999291" cy="2622963"/>
          </a:xfrm>
          <a:prstGeom prst="rect">
            <a:avLst/>
          </a:prstGeom>
          <a:effectLst>
            <a:outerShdw blurRad="308211" dist="38100" dir="2700000" algn="tl" rotWithShape="0">
              <a:prstClr val="black"/>
            </a:outerShdw>
          </a:effectLst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CYBER-</a:t>
            </a:r>
          </a:p>
          <a:p>
            <a:pPr algn="ctr">
              <a:lnSpc>
                <a:spcPts val="5000"/>
              </a:lnSpc>
            </a:pPr>
            <a:r>
              <a:rPr lang="nl-NL" sz="5400"/>
              <a:t>SECURITY</a:t>
            </a: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8941BE46-492C-93AF-D995-1610584579C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98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ussen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10">
            <a:extLst>
              <a:ext uri="{FF2B5EF4-FFF2-40B4-BE49-F238E27FC236}">
                <a16:creationId xmlns:a16="http://schemas.microsoft.com/office/drawing/2014/main" id="{3A083209-980C-57A6-08E0-485589EC22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5757" y="-1316510"/>
            <a:ext cx="12261765" cy="8174510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519A69CB-BA9E-1166-022D-71A84515FDD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480223" y="1198879"/>
            <a:ext cx="2757865" cy="2925009"/>
          </a:xfrm>
          <a:prstGeom prst="rect">
            <a:avLst/>
          </a:prstGeom>
          <a:effectLst>
            <a:outerShdw blurRad="308211" dist="38100" dir="2700000" algn="tl" rotWithShape="0">
              <a:prstClr val="black"/>
            </a:outerShdw>
          </a:effectLst>
        </p:spPr>
      </p:pic>
      <p:sp>
        <p:nvSpPr>
          <p:cNvPr id="15" name="Titel 1">
            <a:extLst>
              <a:ext uri="{FF2B5EF4-FFF2-40B4-BE49-F238E27FC236}">
                <a16:creationId xmlns:a16="http://schemas.microsoft.com/office/drawing/2014/main" id="{8F0C5A26-0021-CDCF-A3F1-DE392CB0F41A}"/>
              </a:ext>
            </a:extLst>
          </p:cNvPr>
          <p:cNvSpPr txBox="1">
            <a:spLocks/>
          </p:cNvSpPr>
          <p:nvPr userDrawn="1"/>
        </p:nvSpPr>
        <p:spPr>
          <a:xfrm>
            <a:off x="3841290" y="3274422"/>
            <a:ext cx="3999291" cy="2622963"/>
          </a:xfrm>
          <a:prstGeom prst="rect">
            <a:avLst/>
          </a:prstGeom>
          <a:effectLst>
            <a:outerShdw blurRad="308211" dist="38100" dir="2700000" algn="tl" rotWithShape="0">
              <a:prstClr val="black"/>
            </a:outerShdw>
          </a:effectLst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0" i="0" kern="1200">
                <a:solidFill>
                  <a:schemeClr val="bg1"/>
                </a:solidFill>
                <a:latin typeface="IBM Plex Sans Light" panose="020B0403050203000203" pitchFamily="34" charset="0"/>
                <a:ea typeface="+mj-ea"/>
                <a:cs typeface="+mj-cs"/>
              </a:defRPr>
            </a:lvl1pPr>
          </a:lstStyle>
          <a:p>
            <a:pPr algn="ctr">
              <a:lnSpc>
                <a:spcPts val="5000"/>
              </a:lnSpc>
            </a:pPr>
            <a:r>
              <a:rPr lang="nl-NL" sz="5400"/>
              <a:t>NETWORK</a:t>
            </a: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8941BE46-492C-93AF-D995-1610584579C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9471832" y="857832"/>
            <a:ext cx="1895306" cy="1898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1802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57.xml"/><Relationship Id="rId34" Type="http://schemas.openxmlformats.org/officeDocument/2006/relationships/slideLayout" Target="../slideLayouts/slideLayout70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33" Type="http://schemas.openxmlformats.org/officeDocument/2006/relationships/slideLayout" Target="../slideLayouts/slideLayout69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29" Type="http://schemas.openxmlformats.org/officeDocument/2006/relationships/slideLayout" Target="../slideLayouts/slideLayout65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32" Type="http://schemas.openxmlformats.org/officeDocument/2006/relationships/slideLayout" Target="../slideLayouts/slideLayout68.xml"/><Relationship Id="rId37" Type="http://schemas.openxmlformats.org/officeDocument/2006/relationships/theme" Target="../theme/theme2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slideLayout" Target="../slideLayouts/slideLayout64.xml"/><Relationship Id="rId36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31" Type="http://schemas.openxmlformats.org/officeDocument/2006/relationships/slideLayout" Target="../slideLayouts/slideLayout67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slideLayout" Target="../slideLayouts/slideLayout63.xml"/><Relationship Id="rId30" Type="http://schemas.openxmlformats.org/officeDocument/2006/relationships/slideLayout" Target="../slideLayouts/slideLayout66.xml"/><Relationship Id="rId35" Type="http://schemas.openxmlformats.org/officeDocument/2006/relationships/slideLayout" Target="../slideLayouts/slideLayout71.xml"/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F0484A04-9253-46B6-520B-5D55833B9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E191CBAE-F685-95F8-6F4C-0A77F3CC58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0CAEF6D-F6D5-E0E6-20F1-027F207AE7F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>
                <a:solidFill>
                  <a:srgbClr val="AAD2F3"/>
                </a:solidFill>
                <a:effectLst/>
                <a:latin typeface="IBM Plex Sans Light" panose="020B0403050203000203" pitchFamily="34" charset="0"/>
              </a:rPr>
              <a:t>17.01.2023</a:t>
            </a:r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74CFB3E-F35C-291C-165F-DE7BDAA89D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NL">
                <a:solidFill>
                  <a:srgbClr val="000000"/>
                </a:solidFill>
                <a:effectLst/>
                <a:latin typeface="IBM Plex Sans Light" panose="020B0403050203000203" pitchFamily="34" charset="0"/>
              </a:rPr>
              <a:t> </a:t>
            </a:r>
            <a:r>
              <a:rPr lang="nl-NL" err="1">
                <a:solidFill>
                  <a:srgbClr val="AAD2F3"/>
                </a:solidFill>
                <a:effectLst/>
                <a:latin typeface="IBM Plex Sans Light" panose="020B0403050203000203" pitchFamily="34" charset="0"/>
              </a:rPr>
              <a:t>Conscia</a:t>
            </a:r>
            <a:r>
              <a:rPr lang="nl-NL">
                <a:solidFill>
                  <a:srgbClr val="AAD2F3"/>
                </a:solidFill>
                <a:effectLst/>
                <a:latin typeface="IBM Plex Sans Light" panose="020B0403050203000203" pitchFamily="34" charset="0"/>
              </a:rPr>
              <a:t> Nederland – </a:t>
            </a:r>
            <a:r>
              <a:rPr lang="nl-NL" err="1">
                <a:solidFill>
                  <a:srgbClr val="AAD2F3"/>
                </a:solidFill>
                <a:effectLst/>
                <a:latin typeface="IBM Plex Sans Light" panose="020B0403050203000203" pitchFamily="34" charset="0"/>
              </a:rPr>
              <a:t>Inspire</a:t>
            </a:r>
            <a:r>
              <a:rPr lang="nl-NL">
                <a:solidFill>
                  <a:srgbClr val="AAD2F3"/>
                </a:solidFill>
                <a:effectLst/>
                <a:latin typeface="IBM Plex Sans Light" panose="020B0403050203000203" pitchFamily="34" charset="0"/>
              </a:rPr>
              <a:t> </a:t>
            </a:r>
            <a:r>
              <a:rPr lang="nl-NL" err="1">
                <a:solidFill>
                  <a:srgbClr val="AAD2F3"/>
                </a:solidFill>
                <a:effectLst/>
                <a:latin typeface="IBM Plex Sans Light" panose="020B0403050203000203" pitchFamily="34" charset="0"/>
              </a:rPr>
              <a:t>Sessions</a:t>
            </a:r>
            <a:endParaRPr lang="nl-NL">
              <a:solidFill>
                <a:srgbClr val="AAD2F3"/>
              </a:solidFill>
              <a:effectLst/>
              <a:latin typeface="IBM Plex Sans Light" panose="020B0403050203000203" pitchFamily="34" charset="0"/>
            </a:endParaRP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182DE66-9C3A-A5EF-6C6D-9361EA1813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4CE747-A75F-3546-82CA-253856803BA8}" type="slidenum">
              <a:rPr lang="nl-NL" smtClean="0"/>
              <a:t>‹#›</a:t>
            </a:fld>
            <a:endParaRPr lang="nl-NL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38681741-C092-3B10-350D-665176A86A72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925689" y="6477952"/>
            <a:ext cx="1647825" cy="121920"/>
          </a:xfrm>
          <a:prstGeom prst="rect">
            <a:avLst/>
          </a:prstGeom>
          <a:noFill/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nl-NL" sz="800" err="1">
                <a:solidFill>
                  <a:srgbClr val="048BE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scia</a:t>
            </a:r>
            <a:r>
              <a:rPr lang="nl-NL" sz="800">
                <a:solidFill>
                  <a:srgbClr val="048BE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800" err="1">
                <a:solidFill>
                  <a:srgbClr val="048BE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nsitivity</a:t>
            </a:r>
            <a:r>
              <a:rPr lang="nl-NL" sz="800">
                <a:solidFill>
                  <a:srgbClr val="048BE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nl-NL" sz="800" err="1">
                <a:solidFill>
                  <a:srgbClr val="048BE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lassification</a:t>
            </a:r>
            <a:r>
              <a:rPr lang="nl-NL" sz="800">
                <a:solidFill>
                  <a:srgbClr val="048BE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Public</a:t>
            </a:r>
          </a:p>
        </p:txBody>
      </p:sp>
    </p:spTree>
    <p:extLst>
      <p:ext uri="{BB962C8B-B14F-4D97-AF65-F5344CB8AC3E}">
        <p14:creationId xmlns:p14="http://schemas.microsoft.com/office/powerpoint/2010/main" val="611196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72" r:id="rId3"/>
    <p:sldLayoutId id="2147483671" r:id="rId4"/>
    <p:sldLayoutId id="2147483676" r:id="rId5"/>
    <p:sldLayoutId id="2147483677" r:id="rId6"/>
    <p:sldLayoutId id="2147483666" r:id="rId7"/>
    <p:sldLayoutId id="2147483678" r:id="rId8"/>
    <p:sldLayoutId id="2147483679" r:id="rId9"/>
    <p:sldLayoutId id="2147483680" r:id="rId10"/>
    <p:sldLayoutId id="2147483673" r:id="rId11"/>
    <p:sldLayoutId id="2147483674" r:id="rId12"/>
    <p:sldLayoutId id="2147483675" r:id="rId13"/>
    <p:sldLayoutId id="2147483692" r:id="rId14"/>
    <p:sldLayoutId id="2147483650" r:id="rId15"/>
    <p:sldLayoutId id="2147483665" r:id="rId16"/>
    <p:sldLayoutId id="2147483667" r:id="rId17"/>
    <p:sldLayoutId id="2147483684" r:id="rId18"/>
    <p:sldLayoutId id="2147483685" r:id="rId19"/>
    <p:sldLayoutId id="2147483686" r:id="rId20"/>
    <p:sldLayoutId id="2147483681" r:id="rId21"/>
    <p:sldLayoutId id="2147483682" r:id="rId22"/>
    <p:sldLayoutId id="2147483683" r:id="rId23"/>
    <p:sldLayoutId id="2147483687" r:id="rId24"/>
    <p:sldLayoutId id="2147483688" r:id="rId25"/>
    <p:sldLayoutId id="2147483689" r:id="rId26"/>
    <p:sldLayoutId id="2147483657" r:id="rId27"/>
    <p:sldLayoutId id="2147483669" r:id="rId28"/>
    <p:sldLayoutId id="2147483668" r:id="rId29"/>
    <p:sldLayoutId id="2147483670" r:id="rId30"/>
    <p:sldLayoutId id="2147483652" r:id="rId31"/>
    <p:sldLayoutId id="2147483730" r:id="rId32"/>
    <p:sldLayoutId id="2147483656" r:id="rId33"/>
    <p:sldLayoutId id="2147483690" r:id="rId34"/>
    <p:sldLayoutId id="2147483691" r:id="rId35"/>
    <p:sldLayoutId id="2147483662" r:id="rId3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4D117F98-40AC-4B3C-AE5D-AC8258DEFE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9209"/>
            <a:ext cx="11233150" cy="44192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pPr lvl="0"/>
            <a:r>
              <a:rPr lang="en-GB"/>
              <a:t>Click to edit Master title style</a:t>
            </a:r>
            <a:endParaRPr lang="da-DK"/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A2E7EC7-23C3-453A-8CC2-1723FF6A76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524000"/>
            <a:ext cx="11233150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Edit Master </a:t>
            </a:r>
            <a:r>
              <a:rPr lang="da-DK" err="1"/>
              <a:t>text</a:t>
            </a:r>
            <a:r>
              <a:rPr lang="da-DK"/>
              <a:t>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B478671-6BD5-48EA-82B1-061165BD9F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781689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9354A32D-2BB0-4873-9068-D567465CDFEC}" type="datetime3">
              <a:rPr lang="en-GB" smtClean="0"/>
              <a:t>20 September, 2023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34EA693-2300-4092-8B84-9C07FC468D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5" y="6356352"/>
            <a:ext cx="6878128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GB"/>
              <a:t>Document Name  |  Conscia A/S  |  State Secret - Confidential - Restricted - Internal - Protected Public  |  version 1.0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FB9986F-E54D-41A7-A1ED-3B6B81BBB5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30000" y="6356352"/>
            <a:ext cx="609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3F54C527-0984-48E6-8C32-393FB98A5E1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3F34249A-5A65-CF4B-DACD-A6E24BFD968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283200" y="6672580"/>
            <a:ext cx="164782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nl-NL" sz="8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scia Sensitivity Classification: Public</a:t>
            </a:r>
          </a:p>
        </p:txBody>
      </p:sp>
    </p:spTree>
    <p:extLst>
      <p:ext uri="{BB962C8B-B14F-4D97-AF65-F5344CB8AC3E}">
        <p14:creationId xmlns:p14="http://schemas.microsoft.com/office/powerpoint/2010/main" val="4279813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21" r:id="rId28"/>
    <p:sldLayoutId id="2147483722" r:id="rId29"/>
    <p:sldLayoutId id="2147483723" r:id="rId30"/>
    <p:sldLayoutId id="2147483724" r:id="rId31"/>
    <p:sldLayoutId id="2147483725" r:id="rId32"/>
    <p:sldLayoutId id="2147483726" r:id="rId33"/>
    <p:sldLayoutId id="2147483727" r:id="rId34"/>
    <p:sldLayoutId id="2147483728" r:id="rId35"/>
    <p:sldLayoutId id="2147483729" r:id="rId36"/>
  </p:sldLayoutIdLst>
  <p:hf hdr="0" dt="0"/>
  <p:txStyles>
    <p:titleStyle>
      <a:lvl1pPr algn="l" defTabSz="914422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6692" indent="-166692" algn="l" defTabSz="914422" rtl="0" eaLnBrk="1" latinLnBrk="0" hangingPunct="1">
        <a:lnSpc>
          <a:spcPct val="90000"/>
        </a:lnSpc>
        <a:spcBef>
          <a:spcPts val="1001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44497" indent="-177805" algn="l" defTabSz="914422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401" kern="1200">
          <a:solidFill>
            <a:schemeClr val="tx1"/>
          </a:solidFill>
          <a:latin typeface="+mn-lt"/>
          <a:ea typeface="+mn-ea"/>
          <a:cs typeface="+mn-cs"/>
        </a:defRPr>
      </a:lvl2pPr>
      <a:lvl3pPr marL="511187" indent="-166692" algn="l" defTabSz="914422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11187" indent="-166692" algn="l" defTabSz="914422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11187" indent="-166692" algn="l" defTabSz="914422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4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2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1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2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302">
          <p15:clr>
            <a:srgbClr val="F26B43"/>
          </p15:clr>
        </p15:guide>
        <p15:guide id="4" pos="960">
          <p15:clr>
            <a:srgbClr val="F26B43"/>
          </p15:clr>
        </p15:guide>
        <p15:guide id="5" pos="3360">
          <p15:clr>
            <a:srgbClr val="F26B43"/>
          </p15:clr>
        </p15:guide>
        <p15:guide id="6" pos="4320">
          <p15:clr>
            <a:srgbClr val="F26B43"/>
          </p15:clr>
        </p15:guide>
        <p15:guide id="7" pos="6720">
          <p15:clr>
            <a:srgbClr val="F26B43"/>
          </p15:clr>
        </p15:guide>
        <p15:guide id="8" pos="7378">
          <p15:clr>
            <a:srgbClr val="F26B43"/>
          </p15:clr>
        </p15:guide>
        <p15:guide id="9" orient="horz" pos="255">
          <p15:clr>
            <a:srgbClr val="F26B43"/>
          </p15:clr>
        </p15:guide>
        <p15:guide id="10" orient="horz" pos="960">
          <p15:clr>
            <a:srgbClr val="F26B43"/>
          </p15:clr>
        </p15:guide>
        <p15:guide id="11" orient="horz" pos="3360">
          <p15:clr>
            <a:srgbClr val="F26B43"/>
          </p15:clr>
        </p15:guide>
        <p15:guide id="12" orient="horz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emf"/><Relationship Id="rId13" Type="http://schemas.openxmlformats.org/officeDocument/2006/relationships/image" Target="../media/image77.jpeg"/><Relationship Id="rId3" Type="http://schemas.openxmlformats.org/officeDocument/2006/relationships/image" Target="../media/image67.emf"/><Relationship Id="rId7" Type="http://schemas.openxmlformats.org/officeDocument/2006/relationships/image" Target="../media/image71.emf"/><Relationship Id="rId12" Type="http://schemas.openxmlformats.org/officeDocument/2006/relationships/image" Target="../media/image7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70.emf"/><Relationship Id="rId11" Type="http://schemas.openxmlformats.org/officeDocument/2006/relationships/image" Target="../media/image75.emf"/><Relationship Id="rId5" Type="http://schemas.openxmlformats.org/officeDocument/2006/relationships/image" Target="../media/image69.emf"/><Relationship Id="rId10" Type="http://schemas.openxmlformats.org/officeDocument/2006/relationships/image" Target="../media/image74.emf"/><Relationship Id="rId4" Type="http://schemas.openxmlformats.org/officeDocument/2006/relationships/image" Target="../media/image68.emf"/><Relationship Id="rId9" Type="http://schemas.openxmlformats.org/officeDocument/2006/relationships/image" Target="../media/image73.emf"/><Relationship Id="rId14" Type="http://schemas.openxmlformats.org/officeDocument/2006/relationships/image" Target="../media/image78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79.png"/><Relationship Id="rId7" Type="http://schemas.openxmlformats.org/officeDocument/2006/relationships/image" Target="../media/image8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82.png"/><Relationship Id="rId5" Type="http://schemas.openxmlformats.org/officeDocument/2006/relationships/image" Target="../media/image81.png"/><Relationship Id="rId4" Type="http://schemas.openxmlformats.org/officeDocument/2006/relationships/image" Target="../media/image80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0.jpeg"/><Relationship Id="rId3" Type="http://schemas.openxmlformats.org/officeDocument/2006/relationships/image" Target="../media/image85.jpeg"/><Relationship Id="rId7" Type="http://schemas.openxmlformats.org/officeDocument/2006/relationships/image" Target="../media/image8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88.jpeg"/><Relationship Id="rId5" Type="http://schemas.openxmlformats.org/officeDocument/2006/relationships/image" Target="../media/image87.jpeg"/><Relationship Id="rId4" Type="http://schemas.openxmlformats.org/officeDocument/2006/relationships/image" Target="../media/image86.png"/><Relationship Id="rId9" Type="http://schemas.openxmlformats.org/officeDocument/2006/relationships/image" Target="../media/image9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95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7" Type="http://schemas.openxmlformats.org/officeDocument/2006/relationships/image" Target="../media/image104.png"/><Relationship Id="rId2" Type="http://schemas.openxmlformats.org/officeDocument/2006/relationships/image" Target="../media/image99.jpeg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03.png"/><Relationship Id="rId5" Type="http://schemas.openxmlformats.org/officeDocument/2006/relationships/image" Target="../media/image102.jpeg"/><Relationship Id="rId4" Type="http://schemas.openxmlformats.org/officeDocument/2006/relationships/image" Target="../media/image10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3" Type="http://schemas.openxmlformats.org/officeDocument/2006/relationships/image" Target="../media/image105.jpeg"/><Relationship Id="rId7" Type="http://schemas.openxmlformats.org/officeDocument/2006/relationships/image" Target="../media/image10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08.jpeg"/><Relationship Id="rId5" Type="http://schemas.openxmlformats.org/officeDocument/2006/relationships/image" Target="../media/image107.jpeg"/><Relationship Id="rId4" Type="http://schemas.openxmlformats.org/officeDocument/2006/relationships/image" Target="../media/image106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11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png"/><Relationship Id="rId3" Type="http://schemas.openxmlformats.org/officeDocument/2006/relationships/image" Target="../media/image113.png"/><Relationship Id="rId7" Type="http://schemas.openxmlformats.org/officeDocument/2006/relationships/image" Target="../media/image117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16.tiff"/><Relationship Id="rId5" Type="http://schemas.openxmlformats.org/officeDocument/2006/relationships/image" Target="../media/image115.tiff"/><Relationship Id="rId4" Type="http://schemas.openxmlformats.org/officeDocument/2006/relationships/image" Target="../media/image114.jpe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7" Type="http://schemas.openxmlformats.org/officeDocument/2006/relationships/image" Target="../media/image122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21.jpeg"/><Relationship Id="rId5" Type="http://schemas.openxmlformats.org/officeDocument/2006/relationships/image" Target="../media/image120.jpeg"/><Relationship Id="rId4" Type="http://schemas.openxmlformats.org/officeDocument/2006/relationships/image" Target="../media/image119.jpe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61.tif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tif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66.png"/><Relationship Id="rId4" Type="http://schemas.openxmlformats.org/officeDocument/2006/relationships/image" Target="../media/image6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7C330164-C059-BD64-4B7F-DC73EC4A8D6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10640" y="2178219"/>
            <a:ext cx="7396480" cy="2387600"/>
          </a:xfrm>
        </p:spPr>
        <p:txBody>
          <a:bodyPr/>
          <a:lstStyle/>
          <a:p>
            <a:r>
              <a:rPr lang="nl-NL"/>
              <a:t>Welkom!</a:t>
            </a:r>
          </a:p>
        </p:txBody>
      </p:sp>
      <p:sp>
        <p:nvSpPr>
          <p:cNvPr id="13" name="Ondertitel 12">
            <a:extLst>
              <a:ext uri="{FF2B5EF4-FFF2-40B4-BE49-F238E27FC236}">
                <a16:creationId xmlns:a16="http://schemas.microsoft.com/office/drawing/2014/main" id="{BB804D66-E3EF-A2B4-1629-47B58E3F5E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715828"/>
            <a:ext cx="7086600" cy="1655762"/>
          </a:xfrm>
        </p:spPr>
        <p:txBody>
          <a:bodyPr/>
          <a:lstStyle/>
          <a:p>
            <a:r>
              <a:rPr lang="nl-NL" err="1"/>
              <a:t>RICk</a:t>
            </a:r>
            <a:r>
              <a:rPr lang="nl-NL"/>
              <a:t> van ‘t spijker</a:t>
            </a:r>
          </a:p>
          <a:p>
            <a:r>
              <a:rPr lang="nl-NL"/>
              <a:t>LEAD ARCHITECT</a:t>
            </a:r>
          </a:p>
        </p:txBody>
      </p:sp>
    </p:spTree>
    <p:extLst>
      <p:ext uri="{BB962C8B-B14F-4D97-AF65-F5344CB8AC3E}">
        <p14:creationId xmlns:p14="http://schemas.microsoft.com/office/powerpoint/2010/main" val="22361594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39437344-8887-7784-9E6C-5AAFA9E53A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4787" y="3429000"/>
            <a:ext cx="1746068" cy="1001893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6E2FE4F2-7964-AFEA-E25F-9035FDECEE0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6927" y="3429000"/>
            <a:ext cx="1746068" cy="1001893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3F34E4DC-AF57-4829-2243-E7295BFAB3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19067" y="3432175"/>
            <a:ext cx="1746067" cy="998718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4C965B80-5A0C-3681-4B1A-8B6E8F1B527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14787" y="4464418"/>
            <a:ext cx="1746068" cy="1001894"/>
          </a:xfrm>
          <a:prstGeom prst="rect">
            <a:avLst/>
          </a:prstGeom>
        </p:spPr>
      </p:pic>
      <p:pic>
        <p:nvPicPr>
          <p:cNvPr id="16" name="Afbeelding 15">
            <a:extLst>
              <a:ext uri="{FF2B5EF4-FFF2-40B4-BE49-F238E27FC236}">
                <a16:creationId xmlns:a16="http://schemas.microsoft.com/office/drawing/2014/main" id="{9A7F4C93-9751-6FF6-F116-E65B3BF14FE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716928" y="4464417"/>
            <a:ext cx="1746068" cy="1001893"/>
          </a:xfrm>
          <a:prstGeom prst="rect">
            <a:avLst/>
          </a:prstGeom>
        </p:spPr>
      </p:pic>
      <p:pic>
        <p:nvPicPr>
          <p:cNvPr id="18" name="Afbeelding 17">
            <a:extLst>
              <a:ext uri="{FF2B5EF4-FFF2-40B4-BE49-F238E27FC236}">
                <a16:creationId xmlns:a16="http://schemas.microsoft.com/office/drawing/2014/main" id="{5F890F7A-EA8E-2F63-26DB-752F40E4EB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19067" y="4464417"/>
            <a:ext cx="1746067" cy="998718"/>
          </a:xfrm>
          <a:prstGeom prst="rect">
            <a:avLst/>
          </a:prstGeom>
        </p:spPr>
      </p:pic>
      <p:pic>
        <p:nvPicPr>
          <p:cNvPr id="20" name="Afbeelding 19">
            <a:extLst>
              <a:ext uri="{FF2B5EF4-FFF2-40B4-BE49-F238E27FC236}">
                <a16:creationId xmlns:a16="http://schemas.microsoft.com/office/drawing/2014/main" id="{502B779B-0073-BF33-9AD2-95679E31ED1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14787" y="5506367"/>
            <a:ext cx="1746068" cy="1001895"/>
          </a:xfrm>
          <a:prstGeom prst="rect">
            <a:avLst/>
          </a:prstGeom>
        </p:spPr>
      </p:pic>
      <p:pic>
        <p:nvPicPr>
          <p:cNvPr id="22" name="Afbeelding 21">
            <a:extLst>
              <a:ext uri="{FF2B5EF4-FFF2-40B4-BE49-F238E27FC236}">
                <a16:creationId xmlns:a16="http://schemas.microsoft.com/office/drawing/2014/main" id="{4EE881F4-5BE2-E5B8-9F27-C9AB2ABDFF4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16927" y="5506367"/>
            <a:ext cx="1746068" cy="1001893"/>
          </a:xfrm>
          <a:prstGeom prst="rect">
            <a:avLst/>
          </a:prstGeom>
        </p:spPr>
      </p:pic>
      <p:pic>
        <p:nvPicPr>
          <p:cNvPr id="24" name="Afbeelding 23">
            <a:extLst>
              <a:ext uri="{FF2B5EF4-FFF2-40B4-BE49-F238E27FC236}">
                <a16:creationId xmlns:a16="http://schemas.microsoft.com/office/drawing/2014/main" id="{9CCC56B4-252E-1188-E4A7-D9898634B7A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519067" y="5506367"/>
            <a:ext cx="1746067" cy="998718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C00B8F02-CC7A-A881-544A-0973481821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865" y="365125"/>
            <a:ext cx="4367069" cy="290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ow MazeMap Provides the Perfect Base for Visualizing Your IoT">
            <a:extLst>
              <a:ext uri="{FF2B5EF4-FFF2-40B4-BE49-F238E27FC236}">
                <a16:creationId xmlns:a16="http://schemas.microsoft.com/office/drawing/2014/main" id="{636AB603-0B81-2086-A678-F4FFD78F23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8146" y="365124"/>
            <a:ext cx="2908781" cy="2908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Heatmaps shown on MazeMap to highlight where crowds gather&#10;">
            <a:extLst>
              <a:ext uri="{FF2B5EF4-FFF2-40B4-BE49-F238E27FC236}">
                <a16:creationId xmlns:a16="http://schemas.microsoft.com/office/drawing/2014/main" id="{1BD890AD-3A0C-E8FD-FFCC-7B8AA60ED9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4738" y="3406775"/>
            <a:ext cx="3086100" cy="308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9009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4FF7E2F-9C8E-D698-8699-01BF4B589C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7948749" cy="1325563"/>
          </a:xfrm>
        </p:spPr>
        <p:txBody>
          <a:bodyPr/>
          <a:lstStyle/>
          <a:p>
            <a:r>
              <a:rPr lang="nl-NL"/>
              <a:t>Secure Connectivity – Campus </a:t>
            </a:r>
            <a:r>
              <a:rPr lang="nl-NL" err="1"/>
              <a:t>Lan</a:t>
            </a:r>
            <a:endParaRPr lang="nl-NL"/>
          </a:p>
        </p:txBody>
      </p:sp>
      <p:grpSp>
        <p:nvGrpSpPr>
          <p:cNvPr id="2" name="Group 693">
            <a:extLst>
              <a:ext uri="{FF2B5EF4-FFF2-40B4-BE49-F238E27FC236}">
                <a16:creationId xmlns:a16="http://schemas.microsoft.com/office/drawing/2014/main" id="{3CC59461-58F0-0395-6F3C-42C60B24B1E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39740" y="2579891"/>
            <a:ext cx="3403915" cy="3185271"/>
            <a:chOff x="4932363" y="415926"/>
            <a:chExt cx="974725" cy="979488"/>
          </a:xfrm>
          <a:noFill/>
        </p:grpSpPr>
        <p:sp>
          <p:nvSpPr>
            <p:cNvPr id="3" name="Freeform 738">
              <a:extLst>
                <a:ext uri="{FF2B5EF4-FFF2-40B4-BE49-F238E27FC236}">
                  <a16:creationId xmlns:a16="http://schemas.microsoft.com/office/drawing/2014/main" id="{DEE3AAE4-A00E-1FA5-9F60-D69FCC61394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7926" y="473076"/>
              <a:ext cx="862013" cy="865188"/>
            </a:xfrm>
            <a:custGeom>
              <a:avLst/>
              <a:gdLst>
                <a:gd name="T0" fmla="*/ 2147483647 w 543"/>
                <a:gd name="T1" fmla="*/ 2147483647 h 545"/>
                <a:gd name="T2" fmla="*/ 2147483647 w 543"/>
                <a:gd name="T3" fmla="*/ 2147483647 h 545"/>
                <a:gd name="T4" fmla="*/ 2147483647 w 543"/>
                <a:gd name="T5" fmla="*/ 2147483647 h 545"/>
                <a:gd name="T6" fmla="*/ 2147483647 w 543"/>
                <a:gd name="T7" fmla="*/ 2147483647 h 545"/>
                <a:gd name="T8" fmla="*/ 2147483647 w 543"/>
                <a:gd name="T9" fmla="*/ 2147483647 h 545"/>
                <a:gd name="T10" fmla="*/ 2147483647 w 543"/>
                <a:gd name="T11" fmla="*/ 2147483647 h 545"/>
                <a:gd name="T12" fmla="*/ 2147483647 w 543"/>
                <a:gd name="T13" fmla="*/ 2147483647 h 545"/>
                <a:gd name="T14" fmla="*/ 2147483647 w 543"/>
                <a:gd name="T15" fmla="*/ 2147483647 h 545"/>
                <a:gd name="T16" fmla="*/ 2147483647 w 543"/>
                <a:gd name="T17" fmla="*/ 2147483647 h 545"/>
                <a:gd name="T18" fmla="*/ 2147483647 w 543"/>
                <a:gd name="T19" fmla="*/ 2147483647 h 545"/>
                <a:gd name="T20" fmla="*/ 0 w 543"/>
                <a:gd name="T21" fmla="*/ 2147483647 h 545"/>
                <a:gd name="T22" fmla="*/ 2147483647 w 543"/>
                <a:gd name="T23" fmla="*/ 2147483647 h 545"/>
                <a:gd name="T24" fmla="*/ 0 w 543"/>
                <a:gd name="T25" fmla="*/ 2147483647 h 545"/>
                <a:gd name="T26" fmla="*/ 2147483647 w 543"/>
                <a:gd name="T27" fmla="*/ 2147483647 h 545"/>
                <a:gd name="T28" fmla="*/ 2147483647 w 543"/>
                <a:gd name="T29" fmla="*/ 2147483647 h 545"/>
                <a:gd name="T30" fmla="*/ 2147483647 w 543"/>
                <a:gd name="T31" fmla="*/ 2147483647 h 545"/>
                <a:gd name="T32" fmla="*/ 2147483647 w 543"/>
                <a:gd name="T33" fmla="*/ 0 h 545"/>
                <a:gd name="T34" fmla="*/ 2147483647 w 543"/>
                <a:gd name="T35" fmla="*/ 2147483647 h 545"/>
                <a:gd name="T36" fmla="*/ 2147483647 w 543"/>
                <a:gd name="T37" fmla="*/ 0 h 545"/>
                <a:gd name="T38" fmla="*/ 2147483647 w 543"/>
                <a:gd name="T39" fmla="*/ 2147483647 h 545"/>
                <a:gd name="T40" fmla="*/ 2147483647 w 543"/>
                <a:gd name="T41" fmla="*/ 2147483647 h 545"/>
                <a:gd name="T42" fmla="*/ 2147483647 w 543"/>
                <a:gd name="T43" fmla="*/ 2147483647 h 545"/>
                <a:gd name="T44" fmla="*/ 2147483647 w 543"/>
                <a:gd name="T45" fmla="*/ 2147483647 h 545"/>
                <a:gd name="T46" fmla="*/ 2147483647 w 543"/>
                <a:gd name="T47" fmla="*/ 2147483647 h 545"/>
                <a:gd name="T48" fmla="*/ 2147483647 w 543"/>
                <a:gd name="T49" fmla="*/ 2147483647 h 54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43" h="545">
                  <a:moveTo>
                    <a:pt x="543" y="345"/>
                  </a:moveTo>
                  <a:lnTo>
                    <a:pt x="272" y="271"/>
                  </a:lnTo>
                  <a:lnTo>
                    <a:pt x="470" y="472"/>
                  </a:lnTo>
                  <a:lnTo>
                    <a:pt x="272" y="271"/>
                  </a:lnTo>
                  <a:lnTo>
                    <a:pt x="345" y="545"/>
                  </a:lnTo>
                  <a:lnTo>
                    <a:pt x="272" y="271"/>
                  </a:lnTo>
                  <a:lnTo>
                    <a:pt x="199" y="545"/>
                  </a:lnTo>
                  <a:lnTo>
                    <a:pt x="272" y="271"/>
                  </a:lnTo>
                  <a:lnTo>
                    <a:pt x="73" y="472"/>
                  </a:lnTo>
                  <a:lnTo>
                    <a:pt x="272" y="271"/>
                  </a:lnTo>
                  <a:lnTo>
                    <a:pt x="0" y="345"/>
                  </a:lnTo>
                  <a:lnTo>
                    <a:pt x="272" y="271"/>
                  </a:lnTo>
                  <a:lnTo>
                    <a:pt x="0" y="198"/>
                  </a:lnTo>
                  <a:lnTo>
                    <a:pt x="272" y="271"/>
                  </a:lnTo>
                  <a:lnTo>
                    <a:pt x="73" y="73"/>
                  </a:lnTo>
                  <a:lnTo>
                    <a:pt x="272" y="271"/>
                  </a:lnTo>
                  <a:lnTo>
                    <a:pt x="199" y="0"/>
                  </a:lnTo>
                  <a:lnTo>
                    <a:pt x="272" y="271"/>
                  </a:lnTo>
                  <a:lnTo>
                    <a:pt x="345" y="0"/>
                  </a:lnTo>
                  <a:lnTo>
                    <a:pt x="272" y="271"/>
                  </a:lnTo>
                  <a:lnTo>
                    <a:pt x="470" y="73"/>
                  </a:lnTo>
                  <a:lnTo>
                    <a:pt x="272" y="271"/>
                  </a:lnTo>
                  <a:lnTo>
                    <a:pt x="543" y="198"/>
                  </a:lnTo>
                  <a:lnTo>
                    <a:pt x="272" y="271"/>
                  </a:lnTo>
                  <a:lnTo>
                    <a:pt x="543" y="345"/>
                  </a:lnTo>
                  <a:close/>
                </a:path>
              </a:pathLst>
            </a:custGeom>
            <a:grpFill/>
            <a:ln w="15875" cap="rnd">
              <a:solidFill>
                <a:srgbClr val="248DD8">
                  <a:alpha val="35000"/>
                </a:srgbClr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5" name="Freeform 739">
              <a:extLst>
                <a:ext uri="{FF2B5EF4-FFF2-40B4-BE49-F238E27FC236}">
                  <a16:creationId xmlns:a16="http://schemas.microsoft.com/office/drawing/2014/main" id="{6A7D671F-EDFD-3BD4-E9F2-F05DE11540B5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7926" y="473076"/>
              <a:ext cx="862013" cy="865188"/>
            </a:xfrm>
            <a:custGeom>
              <a:avLst/>
              <a:gdLst>
                <a:gd name="T0" fmla="*/ 2147483647 w 543"/>
                <a:gd name="T1" fmla="*/ 2147483647 h 545"/>
                <a:gd name="T2" fmla="*/ 2147483647 w 543"/>
                <a:gd name="T3" fmla="*/ 2147483647 h 545"/>
                <a:gd name="T4" fmla="*/ 2147483647 w 543"/>
                <a:gd name="T5" fmla="*/ 2147483647 h 545"/>
                <a:gd name="T6" fmla="*/ 2147483647 w 543"/>
                <a:gd name="T7" fmla="*/ 2147483647 h 545"/>
                <a:gd name="T8" fmla="*/ 2147483647 w 543"/>
                <a:gd name="T9" fmla="*/ 2147483647 h 545"/>
                <a:gd name="T10" fmla="*/ 2147483647 w 543"/>
                <a:gd name="T11" fmla="*/ 2147483647 h 545"/>
                <a:gd name="T12" fmla="*/ 2147483647 w 543"/>
                <a:gd name="T13" fmla="*/ 2147483647 h 545"/>
                <a:gd name="T14" fmla="*/ 2147483647 w 543"/>
                <a:gd name="T15" fmla="*/ 2147483647 h 545"/>
                <a:gd name="T16" fmla="*/ 2147483647 w 543"/>
                <a:gd name="T17" fmla="*/ 2147483647 h 545"/>
                <a:gd name="T18" fmla="*/ 2147483647 w 543"/>
                <a:gd name="T19" fmla="*/ 2147483647 h 545"/>
                <a:gd name="T20" fmla="*/ 0 w 543"/>
                <a:gd name="T21" fmla="*/ 2147483647 h 545"/>
                <a:gd name="T22" fmla="*/ 2147483647 w 543"/>
                <a:gd name="T23" fmla="*/ 2147483647 h 545"/>
                <a:gd name="T24" fmla="*/ 0 w 543"/>
                <a:gd name="T25" fmla="*/ 2147483647 h 545"/>
                <a:gd name="T26" fmla="*/ 2147483647 w 543"/>
                <a:gd name="T27" fmla="*/ 2147483647 h 545"/>
                <a:gd name="T28" fmla="*/ 2147483647 w 543"/>
                <a:gd name="T29" fmla="*/ 2147483647 h 545"/>
                <a:gd name="T30" fmla="*/ 2147483647 w 543"/>
                <a:gd name="T31" fmla="*/ 2147483647 h 545"/>
                <a:gd name="T32" fmla="*/ 2147483647 w 543"/>
                <a:gd name="T33" fmla="*/ 0 h 545"/>
                <a:gd name="T34" fmla="*/ 2147483647 w 543"/>
                <a:gd name="T35" fmla="*/ 2147483647 h 545"/>
                <a:gd name="T36" fmla="*/ 2147483647 w 543"/>
                <a:gd name="T37" fmla="*/ 0 h 545"/>
                <a:gd name="T38" fmla="*/ 2147483647 w 543"/>
                <a:gd name="T39" fmla="*/ 2147483647 h 545"/>
                <a:gd name="T40" fmla="*/ 2147483647 w 543"/>
                <a:gd name="T41" fmla="*/ 2147483647 h 545"/>
                <a:gd name="T42" fmla="*/ 2147483647 w 543"/>
                <a:gd name="T43" fmla="*/ 2147483647 h 545"/>
                <a:gd name="T44" fmla="*/ 2147483647 w 543"/>
                <a:gd name="T45" fmla="*/ 2147483647 h 545"/>
                <a:gd name="T46" fmla="*/ 2147483647 w 543"/>
                <a:gd name="T47" fmla="*/ 2147483647 h 54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543" h="545">
                  <a:moveTo>
                    <a:pt x="543" y="345"/>
                  </a:moveTo>
                  <a:lnTo>
                    <a:pt x="272" y="271"/>
                  </a:lnTo>
                  <a:lnTo>
                    <a:pt x="470" y="472"/>
                  </a:lnTo>
                  <a:lnTo>
                    <a:pt x="272" y="271"/>
                  </a:lnTo>
                  <a:lnTo>
                    <a:pt x="345" y="545"/>
                  </a:lnTo>
                  <a:lnTo>
                    <a:pt x="272" y="271"/>
                  </a:lnTo>
                  <a:lnTo>
                    <a:pt x="199" y="545"/>
                  </a:lnTo>
                  <a:lnTo>
                    <a:pt x="272" y="271"/>
                  </a:lnTo>
                  <a:lnTo>
                    <a:pt x="73" y="472"/>
                  </a:lnTo>
                  <a:lnTo>
                    <a:pt x="272" y="271"/>
                  </a:lnTo>
                  <a:lnTo>
                    <a:pt x="0" y="345"/>
                  </a:lnTo>
                  <a:lnTo>
                    <a:pt x="272" y="271"/>
                  </a:lnTo>
                  <a:lnTo>
                    <a:pt x="0" y="198"/>
                  </a:lnTo>
                  <a:lnTo>
                    <a:pt x="272" y="271"/>
                  </a:lnTo>
                  <a:lnTo>
                    <a:pt x="73" y="73"/>
                  </a:lnTo>
                  <a:lnTo>
                    <a:pt x="272" y="271"/>
                  </a:lnTo>
                  <a:lnTo>
                    <a:pt x="199" y="0"/>
                  </a:lnTo>
                  <a:lnTo>
                    <a:pt x="272" y="271"/>
                  </a:lnTo>
                  <a:lnTo>
                    <a:pt x="345" y="0"/>
                  </a:lnTo>
                  <a:lnTo>
                    <a:pt x="272" y="271"/>
                  </a:lnTo>
                  <a:lnTo>
                    <a:pt x="470" y="73"/>
                  </a:lnTo>
                  <a:lnTo>
                    <a:pt x="272" y="271"/>
                  </a:lnTo>
                  <a:lnTo>
                    <a:pt x="543" y="198"/>
                  </a:lnTo>
                  <a:lnTo>
                    <a:pt x="272" y="271"/>
                  </a:lnTo>
                </a:path>
              </a:pathLst>
            </a:custGeom>
            <a:grpFill/>
            <a:ln w="15875" cap="rnd">
              <a:solidFill>
                <a:srgbClr val="248DD8">
                  <a:alpha val="35000"/>
                </a:srgbClr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6" name="Line 740">
              <a:extLst>
                <a:ext uri="{FF2B5EF4-FFF2-40B4-BE49-F238E27FC236}">
                  <a16:creationId xmlns:a16="http://schemas.microsoft.com/office/drawing/2014/main" id="{8B1FFA5C-766C-A600-120E-316BC5C034B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03814" y="473076"/>
              <a:ext cx="431800" cy="11588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7" name="Line 741">
              <a:extLst>
                <a:ext uri="{FF2B5EF4-FFF2-40B4-BE49-F238E27FC236}">
                  <a16:creationId xmlns:a16="http://schemas.microsoft.com/office/drawing/2014/main" id="{4EE61852-21CE-8141-4696-5780739D1C2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987926" y="473076"/>
              <a:ext cx="547688" cy="314325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9" name="Line 742">
              <a:extLst>
                <a:ext uri="{FF2B5EF4-FFF2-40B4-BE49-F238E27FC236}">
                  <a16:creationId xmlns:a16="http://schemas.microsoft.com/office/drawing/2014/main" id="{2DBCD151-AC20-BF6B-E190-1A7B120967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987926" y="473076"/>
              <a:ext cx="547688" cy="54768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0" name="Line 743">
              <a:extLst>
                <a:ext uri="{FF2B5EF4-FFF2-40B4-BE49-F238E27FC236}">
                  <a16:creationId xmlns:a16="http://schemas.microsoft.com/office/drawing/2014/main" id="{FEE853D5-53F5-4A06-FC2E-8FF3C3BEF08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03814" y="473076"/>
              <a:ext cx="431800" cy="7493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1" name="Line 744">
              <a:extLst>
                <a:ext uri="{FF2B5EF4-FFF2-40B4-BE49-F238E27FC236}">
                  <a16:creationId xmlns:a16="http://schemas.microsoft.com/office/drawing/2014/main" id="{A9303D71-C377-0D53-F76B-38AD7F344E8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35614" y="473076"/>
              <a:ext cx="0" cy="86518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2" name="Line 745">
              <a:extLst>
                <a:ext uri="{FF2B5EF4-FFF2-40B4-BE49-F238E27FC236}">
                  <a16:creationId xmlns:a16="http://schemas.microsoft.com/office/drawing/2014/main" id="{E652F181-F9BC-928F-A204-3EEAF5513A0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35614" y="473076"/>
              <a:ext cx="198438" cy="7493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3" name="Line 746">
              <a:extLst>
                <a:ext uri="{FF2B5EF4-FFF2-40B4-BE49-F238E27FC236}">
                  <a16:creationId xmlns:a16="http://schemas.microsoft.com/office/drawing/2014/main" id="{517F5DAD-0157-1EF4-36AE-C016F41A21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35614" y="473076"/>
              <a:ext cx="314325" cy="54768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4" name="Line 747">
              <a:extLst>
                <a:ext uri="{FF2B5EF4-FFF2-40B4-BE49-F238E27FC236}">
                  <a16:creationId xmlns:a16="http://schemas.microsoft.com/office/drawing/2014/main" id="{EE9F04F5-7666-5EDE-8C7E-9E48CD881C2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35614" y="473076"/>
              <a:ext cx="314325" cy="314325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5" name="Line 748">
              <a:extLst>
                <a:ext uri="{FF2B5EF4-FFF2-40B4-BE49-F238E27FC236}">
                  <a16:creationId xmlns:a16="http://schemas.microsoft.com/office/drawing/2014/main" id="{9E505909-042F-6CE8-B6B4-8D07154143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303839" y="473076"/>
              <a:ext cx="430213" cy="11588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6" name="Line 749">
              <a:extLst>
                <a:ext uri="{FF2B5EF4-FFF2-40B4-BE49-F238E27FC236}">
                  <a16:creationId xmlns:a16="http://schemas.microsoft.com/office/drawing/2014/main" id="{4084D989-1CD0-4085-3DE5-4DCA24F223A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03814" y="588964"/>
              <a:ext cx="630238" cy="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7" name="Line 750">
              <a:extLst>
                <a:ext uri="{FF2B5EF4-FFF2-40B4-BE49-F238E27FC236}">
                  <a16:creationId xmlns:a16="http://schemas.microsoft.com/office/drawing/2014/main" id="{DF9E71CE-95A4-06EF-F35A-6A4B5EAF6A5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987926" y="588964"/>
              <a:ext cx="746125" cy="19843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8" name="Line 751">
              <a:extLst>
                <a:ext uri="{FF2B5EF4-FFF2-40B4-BE49-F238E27FC236}">
                  <a16:creationId xmlns:a16="http://schemas.microsoft.com/office/drawing/2014/main" id="{4B0E6BFF-084E-44A7-350C-4F27423684F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987926" y="588964"/>
              <a:ext cx="746125" cy="4318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9" name="Line 752">
              <a:extLst>
                <a:ext uri="{FF2B5EF4-FFF2-40B4-BE49-F238E27FC236}">
                  <a16:creationId xmlns:a16="http://schemas.microsoft.com/office/drawing/2014/main" id="{225FA16F-7BC8-1E9B-7CBF-3DB9964D4D6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303839" y="588964"/>
              <a:ext cx="430213" cy="7493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20" name="Line 753">
              <a:extLst>
                <a:ext uri="{FF2B5EF4-FFF2-40B4-BE49-F238E27FC236}">
                  <a16:creationId xmlns:a16="http://schemas.microsoft.com/office/drawing/2014/main" id="{6A177F5E-D262-AF1A-2E93-118B5EEEECF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535614" y="588964"/>
              <a:ext cx="198438" cy="7493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21" name="Line 754">
              <a:extLst>
                <a:ext uri="{FF2B5EF4-FFF2-40B4-BE49-F238E27FC236}">
                  <a16:creationId xmlns:a16="http://schemas.microsoft.com/office/drawing/2014/main" id="{E1AA7FF1-24FC-4527-6726-18293D6965D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34051" y="588964"/>
              <a:ext cx="0" cy="633413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22" name="Line 755">
              <a:extLst>
                <a:ext uri="{FF2B5EF4-FFF2-40B4-BE49-F238E27FC236}">
                  <a16:creationId xmlns:a16="http://schemas.microsoft.com/office/drawing/2014/main" id="{A73787ED-732C-D88C-C475-CD80329CE5B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34051" y="588964"/>
              <a:ext cx="115888" cy="4318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23" name="Line 756">
              <a:extLst>
                <a:ext uri="{FF2B5EF4-FFF2-40B4-BE49-F238E27FC236}">
                  <a16:creationId xmlns:a16="http://schemas.microsoft.com/office/drawing/2014/main" id="{DE534E05-5935-5126-F60D-51EA4E225D3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535614" y="473076"/>
              <a:ext cx="314325" cy="314325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24" name="Line 757">
              <a:extLst>
                <a:ext uri="{FF2B5EF4-FFF2-40B4-BE49-F238E27FC236}">
                  <a16:creationId xmlns:a16="http://schemas.microsoft.com/office/drawing/2014/main" id="{286CED9E-B278-484E-9A83-D5646511A44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303839" y="473076"/>
              <a:ext cx="546100" cy="314325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25" name="Line 758">
              <a:extLst>
                <a:ext uri="{FF2B5EF4-FFF2-40B4-BE49-F238E27FC236}">
                  <a16:creationId xmlns:a16="http://schemas.microsoft.com/office/drawing/2014/main" id="{9C33565A-A03A-1A15-AE1A-38D985A94B9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03814" y="588964"/>
              <a:ext cx="746125" cy="19843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26" name="Line 759">
              <a:extLst>
                <a:ext uri="{FF2B5EF4-FFF2-40B4-BE49-F238E27FC236}">
                  <a16:creationId xmlns:a16="http://schemas.microsoft.com/office/drawing/2014/main" id="{A19BA95D-E879-71CF-FD4F-A31D22E525E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987926" y="787401"/>
              <a:ext cx="862013" cy="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27" name="Line 760">
              <a:extLst>
                <a:ext uri="{FF2B5EF4-FFF2-40B4-BE49-F238E27FC236}">
                  <a16:creationId xmlns:a16="http://schemas.microsoft.com/office/drawing/2014/main" id="{B3864820-C28F-E5FB-E84B-ED8ABA41920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03814" y="787401"/>
              <a:ext cx="746125" cy="434975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28" name="Line 761">
              <a:extLst>
                <a:ext uri="{FF2B5EF4-FFF2-40B4-BE49-F238E27FC236}">
                  <a16:creationId xmlns:a16="http://schemas.microsoft.com/office/drawing/2014/main" id="{71F4568D-9FC7-9178-8F24-D35F2390FFB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303839" y="787401"/>
              <a:ext cx="546100" cy="550863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29" name="Line 762">
              <a:extLst>
                <a:ext uri="{FF2B5EF4-FFF2-40B4-BE49-F238E27FC236}">
                  <a16:creationId xmlns:a16="http://schemas.microsoft.com/office/drawing/2014/main" id="{EAD7D331-13D6-9C9B-262A-C69C85CF38F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535614" y="787401"/>
              <a:ext cx="314325" cy="550863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30" name="Line 763">
              <a:extLst>
                <a:ext uri="{FF2B5EF4-FFF2-40B4-BE49-F238E27FC236}">
                  <a16:creationId xmlns:a16="http://schemas.microsoft.com/office/drawing/2014/main" id="{F15ED7FB-517A-C599-0257-76225971019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734051" y="787401"/>
              <a:ext cx="115888" cy="434975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31" name="Line 764">
              <a:extLst>
                <a:ext uri="{FF2B5EF4-FFF2-40B4-BE49-F238E27FC236}">
                  <a16:creationId xmlns:a16="http://schemas.microsoft.com/office/drawing/2014/main" id="{35B5A7D9-7E0A-909B-9428-8F214CE099E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734051" y="588964"/>
              <a:ext cx="115888" cy="4318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32" name="Line 765">
              <a:extLst>
                <a:ext uri="{FF2B5EF4-FFF2-40B4-BE49-F238E27FC236}">
                  <a16:creationId xmlns:a16="http://schemas.microsoft.com/office/drawing/2014/main" id="{81093D05-3A75-418F-E5A3-2D9A5F1C477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535614" y="473076"/>
              <a:ext cx="314325" cy="54768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33" name="Line 766">
              <a:extLst>
                <a:ext uri="{FF2B5EF4-FFF2-40B4-BE49-F238E27FC236}">
                  <a16:creationId xmlns:a16="http://schemas.microsoft.com/office/drawing/2014/main" id="{D2187AA4-E1D8-4BE9-8EB5-BE861C0A541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303839" y="473076"/>
              <a:ext cx="546100" cy="54768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34" name="Line 767">
              <a:extLst>
                <a:ext uri="{FF2B5EF4-FFF2-40B4-BE49-F238E27FC236}">
                  <a16:creationId xmlns:a16="http://schemas.microsoft.com/office/drawing/2014/main" id="{53F22E27-C102-9173-78A1-36BC9E60BB3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03814" y="588964"/>
              <a:ext cx="746125" cy="4318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35" name="Line 768">
              <a:extLst>
                <a:ext uri="{FF2B5EF4-FFF2-40B4-BE49-F238E27FC236}">
                  <a16:creationId xmlns:a16="http://schemas.microsoft.com/office/drawing/2014/main" id="{EDB3215D-46C1-E63A-A3A4-06374AF643C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987926" y="1020764"/>
              <a:ext cx="862013" cy="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36" name="Line 769">
              <a:extLst>
                <a:ext uri="{FF2B5EF4-FFF2-40B4-BE49-F238E27FC236}">
                  <a16:creationId xmlns:a16="http://schemas.microsoft.com/office/drawing/2014/main" id="{1F0ADBFC-F022-6A5C-845D-A79E9CCB273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03814" y="1020764"/>
              <a:ext cx="746125" cy="201613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37" name="Line 770">
              <a:extLst>
                <a:ext uri="{FF2B5EF4-FFF2-40B4-BE49-F238E27FC236}">
                  <a16:creationId xmlns:a16="http://schemas.microsoft.com/office/drawing/2014/main" id="{09843141-891B-319E-B209-DE35C81A797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303839" y="1020764"/>
              <a:ext cx="546100" cy="3175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38" name="Line 771">
              <a:extLst>
                <a:ext uri="{FF2B5EF4-FFF2-40B4-BE49-F238E27FC236}">
                  <a16:creationId xmlns:a16="http://schemas.microsoft.com/office/drawing/2014/main" id="{BDD1579E-85E6-0862-5BA9-8E2BC708BD8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535614" y="1020764"/>
              <a:ext cx="314325" cy="3175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39" name="Line 772">
              <a:extLst>
                <a:ext uri="{FF2B5EF4-FFF2-40B4-BE49-F238E27FC236}">
                  <a16:creationId xmlns:a16="http://schemas.microsoft.com/office/drawing/2014/main" id="{69B8E21D-448C-C918-2805-D0A916A340F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34051" y="787401"/>
              <a:ext cx="115888" cy="434975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40" name="Line 773">
              <a:extLst>
                <a:ext uri="{FF2B5EF4-FFF2-40B4-BE49-F238E27FC236}">
                  <a16:creationId xmlns:a16="http://schemas.microsoft.com/office/drawing/2014/main" id="{F8EBCCDD-D02A-CF87-13F4-41E4D696600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734051" y="588964"/>
              <a:ext cx="0" cy="633413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41" name="Line 774">
              <a:extLst>
                <a:ext uri="{FF2B5EF4-FFF2-40B4-BE49-F238E27FC236}">
                  <a16:creationId xmlns:a16="http://schemas.microsoft.com/office/drawing/2014/main" id="{177EEDE0-12DB-224D-2EE5-6CC1F735B0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535614" y="473076"/>
              <a:ext cx="198438" cy="7493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42" name="Line 775">
              <a:extLst>
                <a:ext uri="{FF2B5EF4-FFF2-40B4-BE49-F238E27FC236}">
                  <a16:creationId xmlns:a16="http://schemas.microsoft.com/office/drawing/2014/main" id="{677A16EC-B456-C36A-F349-991781CE6A7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303839" y="473076"/>
              <a:ext cx="430213" cy="7493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43" name="Line 776">
              <a:extLst>
                <a:ext uri="{FF2B5EF4-FFF2-40B4-BE49-F238E27FC236}">
                  <a16:creationId xmlns:a16="http://schemas.microsoft.com/office/drawing/2014/main" id="{AEBF1023-1D0E-623D-8AB2-3AA8AAD5461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987926" y="787401"/>
              <a:ext cx="746125" cy="434975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44" name="Line 777">
              <a:extLst>
                <a:ext uri="{FF2B5EF4-FFF2-40B4-BE49-F238E27FC236}">
                  <a16:creationId xmlns:a16="http://schemas.microsoft.com/office/drawing/2014/main" id="{0C193ECD-18FC-A934-223A-FE5D899B49A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987926" y="1020764"/>
              <a:ext cx="746125" cy="201613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45" name="Line 778">
              <a:extLst>
                <a:ext uri="{FF2B5EF4-FFF2-40B4-BE49-F238E27FC236}">
                  <a16:creationId xmlns:a16="http://schemas.microsoft.com/office/drawing/2014/main" id="{6B345ED8-391C-EF00-A15A-96F1642F9BB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103814" y="1222376"/>
              <a:ext cx="630238" cy="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46" name="Line 779">
              <a:extLst>
                <a:ext uri="{FF2B5EF4-FFF2-40B4-BE49-F238E27FC236}">
                  <a16:creationId xmlns:a16="http://schemas.microsoft.com/office/drawing/2014/main" id="{34CA6EB2-7462-F667-5942-A7E6151B314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303839" y="1222376"/>
              <a:ext cx="430213" cy="11588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47" name="Line 780">
              <a:extLst>
                <a:ext uri="{FF2B5EF4-FFF2-40B4-BE49-F238E27FC236}">
                  <a16:creationId xmlns:a16="http://schemas.microsoft.com/office/drawing/2014/main" id="{94D53EA1-CE19-67AF-A37B-A0E3D3B0CCB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535614" y="1020764"/>
              <a:ext cx="314325" cy="3175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48" name="Line 781">
              <a:extLst>
                <a:ext uri="{FF2B5EF4-FFF2-40B4-BE49-F238E27FC236}">
                  <a16:creationId xmlns:a16="http://schemas.microsoft.com/office/drawing/2014/main" id="{BEFDE5F9-58DE-8626-B45F-6C4A8FD3C5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535614" y="787401"/>
              <a:ext cx="314325" cy="550863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49" name="Line 782">
              <a:extLst>
                <a:ext uri="{FF2B5EF4-FFF2-40B4-BE49-F238E27FC236}">
                  <a16:creationId xmlns:a16="http://schemas.microsoft.com/office/drawing/2014/main" id="{571996D2-EE69-62A8-A093-5FE8F2DF460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535614" y="588964"/>
              <a:ext cx="198438" cy="7493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50" name="Line 783">
              <a:extLst>
                <a:ext uri="{FF2B5EF4-FFF2-40B4-BE49-F238E27FC236}">
                  <a16:creationId xmlns:a16="http://schemas.microsoft.com/office/drawing/2014/main" id="{30298C97-642D-3EA2-50A5-0174A121314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535614" y="473076"/>
              <a:ext cx="0" cy="86518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51" name="Line 784">
              <a:extLst>
                <a:ext uri="{FF2B5EF4-FFF2-40B4-BE49-F238E27FC236}">
                  <a16:creationId xmlns:a16="http://schemas.microsoft.com/office/drawing/2014/main" id="{0DB26C39-1DE8-57DB-029C-BCA411991E2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03814" y="588964"/>
              <a:ext cx="431800" cy="7493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52" name="Line 785">
              <a:extLst>
                <a:ext uri="{FF2B5EF4-FFF2-40B4-BE49-F238E27FC236}">
                  <a16:creationId xmlns:a16="http://schemas.microsoft.com/office/drawing/2014/main" id="{D9889C83-7B93-2F7C-6D71-376447F6817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987926" y="787401"/>
              <a:ext cx="547688" cy="550863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53" name="Line 786">
              <a:extLst>
                <a:ext uri="{FF2B5EF4-FFF2-40B4-BE49-F238E27FC236}">
                  <a16:creationId xmlns:a16="http://schemas.microsoft.com/office/drawing/2014/main" id="{3A405102-6153-320A-5A63-F9559DD71E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987926" y="1020764"/>
              <a:ext cx="547688" cy="3175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54" name="Line 787">
              <a:extLst>
                <a:ext uri="{FF2B5EF4-FFF2-40B4-BE49-F238E27FC236}">
                  <a16:creationId xmlns:a16="http://schemas.microsoft.com/office/drawing/2014/main" id="{4EC54D10-6D3E-C297-3B23-E4D01BA4684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03814" y="1222376"/>
              <a:ext cx="431800" cy="11588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55" name="Line 788">
              <a:extLst>
                <a:ext uri="{FF2B5EF4-FFF2-40B4-BE49-F238E27FC236}">
                  <a16:creationId xmlns:a16="http://schemas.microsoft.com/office/drawing/2014/main" id="{AC09F9C5-E246-43B7-4634-70545B4D993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303839" y="1222376"/>
              <a:ext cx="430213" cy="11588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56" name="Line 789">
              <a:extLst>
                <a:ext uri="{FF2B5EF4-FFF2-40B4-BE49-F238E27FC236}">
                  <a16:creationId xmlns:a16="http://schemas.microsoft.com/office/drawing/2014/main" id="{587CB409-1E8B-F977-9462-5789CF37250E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303839" y="1020764"/>
              <a:ext cx="546100" cy="3175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57" name="Line 790">
              <a:extLst>
                <a:ext uri="{FF2B5EF4-FFF2-40B4-BE49-F238E27FC236}">
                  <a16:creationId xmlns:a16="http://schemas.microsoft.com/office/drawing/2014/main" id="{A30CA4E5-538C-EBCA-79FA-7A13B150061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303839" y="787401"/>
              <a:ext cx="546100" cy="550863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58" name="Line 791">
              <a:extLst>
                <a:ext uri="{FF2B5EF4-FFF2-40B4-BE49-F238E27FC236}">
                  <a16:creationId xmlns:a16="http://schemas.microsoft.com/office/drawing/2014/main" id="{F8AD1514-658A-D105-9A5E-5DC9070A172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303839" y="588964"/>
              <a:ext cx="430213" cy="7493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59" name="Line 792">
              <a:extLst>
                <a:ext uri="{FF2B5EF4-FFF2-40B4-BE49-F238E27FC236}">
                  <a16:creationId xmlns:a16="http://schemas.microsoft.com/office/drawing/2014/main" id="{EA54CE69-7896-07F3-16E0-913216A9857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303839" y="473076"/>
              <a:ext cx="0" cy="86518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60" name="Line 793">
              <a:extLst>
                <a:ext uri="{FF2B5EF4-FFF2-40B4-BE49-F238E27FC236}">
                  <a16:creationId xmlns:a16="http://schemas.microsoft.com/office/drawing/2014/main" id="{097D994F-791C-1216-C950-64183D676D5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03814" y="588964"/>
              <a:ext cx="200025" cy="7493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61" name="Line 794">
              <a:extLst>
                <a:ext uri="{FF2B5EF4-FFF2-40B4-BE49-F238E27FC236}">
                  <a16:creationId xmlns:a16="http://schemas.microsoft.com/office/drawing/2014/main" id="{31B11545-B2FC-A1F2-ED33-6EA8A922FF3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987926" y="787401"/>
              <a:ext cx="315913" cy="550863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62" name="Line 795">
              <a:extLst>
                <a:ext uri="{FF2B5EF4-FFF2-40B4-BE49-F238E27FC236}">
                  <a16:creationId xmlns:a16="http://schemas.microsoft.com/office/drawing/2014/main" id="{50D8FE22-5383-ED03-3793-0264EAC8E54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987926" y="1020764"/>
              <a:ext cx="315913" cy="3175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63" name="Line 796">
              <a:extLst>
                <a:ext uri="{FF2B5EF4-FFF2-40B4-BE49-F238E27FC236}">
                  <a16:creationId xmlns:a16="http://schemas.microsoft.com/office/drawing/2014/main" id="{9570B2AF-64CA-1077-0D54-69D384B99A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03814" y="1222376"/>
              <a:ext cx="431800" cy="11588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64" name="Line 797">
              <a:extLst>
                <a:ext uri="{FF2B5EF4-FFF2-40B4-BE49-F238E27FC236}">
                  <a16:creationId xmlns:a16="http://schemas.microsoft.com/office/drawing/2014/main" id="{0598DB46-4995-D861-803B-7BF7065D60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03814" y="1222376"/>
              <a:ext cx="630238" cy="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65" name="Line 798">
              <a:extLst>
                <a:ext uri="{FF2B5EF4-FFF2-40B4-BE49-F238E27FC236}">
                  <a16:creationId xmlns:a16="http://schemas.microsoft.com/office/drawing/2014/main" id="{D639C9EF-DA7B-4D9A-A79C-F74A36BC898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03814" y="1020764"/>
              <a:ext cx="746125" cy="201613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66" name="Line 799">
              <a:extLst>
                <a:ext uri="{FF2B5EF4-FFF2-40B4-BE49-F238E27FC236}">
                  <a16:creationId xmlns:a16="http://schemas.microsoft.com/office/drawing/2014/main" id="{8E124B37-7DA9-3A9A-F09D-FB9D8E66CE9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03814" y="787401"/>
              <a:ext cx="746125" cy="434975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67" name="Line 800">
              <a:extLst>
                <a:ext uri="{FF2B5EF4-FFF2-40B4-BE49-F238E27FC236}">
                  <a16:creationId xmlns:a16="http://schemas.microsoft.com/office/drawing/2014/main" id="{B4935F6C-FD8F-51D9-8ED7-6A1898D2C752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03814" y="473076"/>
              <a:ext cx="431800" cy="7493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68" name="Line 801">
              <a:extLst>
                <a:ext uri="{FF2B5EF4-FFF2-40B4-BE49-F238E27FC236}">
                  <a16:creationId xmlns:a16="http://schemas.microsoft.com/office/drawing/2014/main" id="{414271C2-E13D-6ECD-6207-03FB1C337F2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03814" y="473076"/>
              <a:ext cx="200025" cy="7493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69" name="Line 802">
              <a:extLst>
                <a:ext uri="{FF2B5EF4-FFF2-40B4-BE49-F238E27FC236}">
                  <a16:creationId xmlns:a16="http://schemas.microsoft.com/office/drawing/2014/main" id="{02CEC15B-78AF-A445-9649-AEAEE888960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03814" y="588964"/>
              <a:ext cx="0" cy="633413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70" name="Line 803">
              <a:extLst>
                <a:ext uri="{FF2B5EF4-FFF2-40B4-BE49-F238E27FC236}">
                  <a16:creationId xmlns:a16="http://schemas.microsoft.com/office/drawing/2014/main" id="{7CD49D6D-EE0C-AF93-B40A-7A5744861D4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987926" y="787401"/>
              <a:ext cx="115888" cy="434975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71" name="Line 804">
              <a:extLst>
                <a:ext uri="{FF2B5EF4-FFF2-40B4-BE49-F238E27FC236}">
                  <a16:creationId xmlns:a16="http://schemas.microsoft.com/office/drawing/2014/main" id="{ADAAAA69-A236-B1E9-CB6C-6DEE088418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7926" y="1020764"/>
              <a:ext cx="315913" cy="3175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72" name="Line 805">
              <a:extLst>
                <a:ext uri="{FF2B5EF4-FFF2-40B4-BE49-F238E27FC236}">
                  <a16:creationId xmlns:a16="http://schemas.microsoft.com/office/drawing/2014/main" id="{B6CD0955-3E98-1F19-E4B7-905178B900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7926" y="1020764"/>
              <a:ext cx="547688" cy="3175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73" name="Line 806">
              <a:extLst>
                <a:ext uri="{FF2B5EF4-FFF2-40B4-BE49-F238E27FC236}">
                  <a16:creationId xmlns:a16="http://schemas.microsoft.com/office/drawing/2014/main" id="{40F82F5F-71B8-F51A-9731-8ACBD2B14A6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7926" y="1020764"/>
              <a:ext cx="746125" cy="201613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74" name="Line 807">
              <a:extLst>
                <a:ext uri="{FF2B5EF4-FFF2-40B4-BE49-F238E27FC236}">
                  <a16:creationId xmlns:a16="http://schemas.microsoft.com/office/drawing/2014/main" id="{E4942CCD-5014-4DBE-F890-6EEA0A81A9D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7926" y="1020764"/>
              <a:ext cx="862013" cy="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75" name="Line 808">
              <a:extLst>
                <a:ext uri="{FF2B5EF4-FFF2-40B4-BE49-F238E27FC236}">
                  <a16:creationId xmlns:a16="http://schemas.microsoft.com/office/drawing/2014/main" id="{9D52436E-70EE-40E2-3054-BA7F57BA204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87926" y="588964"/>
              <a:ext cx="746125" cy="4318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76" name="Line 809">
              <a:extLst>
                <a:ext uri="{FF2B5EF4-FFF2-40B4-BE49-F238E27FC236}">
                  <a16:creationId xmlns:a16="http://schemas.microsoft.com/office/drawing/2014/main" id="{816B8AB7-5777-5CFF-9EE6-1C5FA9551A0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87926" y="473076"/>
              <a:ext cx="547688" cy="54768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77" name="Line 811">
              <a:extLst>
                <a:ext uri="{FF2B5EF4-FFF2-40B4-BE49-F238E27FC236}">
                  <a16:creationId xmlns:a16="http://schemas.microsoft.com/office/drawing/2014/main" id="{11B407B8-4695-430F-1C58-AB759A4624F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87926" y="473076"/>
              <a:ext cx="315913" cy="54768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78" name="Line 812">
              <a:extLst>
                <a:ext uri="{FF2B5EF4-FFF2-40B4-BE49-F238E27FC236}">
                  <a16:creationId xmlns:a16="http://schemas.microsoft.com/office/drawing/2014/main" id="{C2927CF4-9B17-5CD9-DC91-BA3C5668EB3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87926" y="588964"/>
              <a:ext cx="115888" cy="4318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79" name="Line 813">
              <a:extLst>
                <a:ext uri="{FF2B5EF4-FFF2-40B4-BE49-F238E27FC236}">
                  <a16:creationId xmlns:a16="http://schemas.microsoft.com/office/drawing/2014/main" id="{6F7E2CA3-2E09-D898-BB69-8A29230A99C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7926" y="787401"/>
              <a:ext cx="115888" cy="434975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80" name="Line 814">
              <a:extLst>
                <a:ext uri="{FF2B5EF4-FFF2-40B4-BE49-F238E27FC236}">
                  <a16:creationId xmlns:a16="http://schemas.microsoft.com/office/drawing/2014/main" id="{C67CC5FD-ECD9-08AE-734E-7B6DFD147B8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7926" y="787401"/>
              <a:ext cx="315913" cy="550863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81" name="Line 815">
              <a:extLst>
                <a:ext uri="{FF2B5EF4-FFF2-40B4-BE49-F238E27FC236}">
                  <a16:creationId xmlns:a16="http://schemas.microsoft.com/office/drawing/2014/main" id="{48B44F5D-A202-1297-E787-978A28ECEB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7926" y="787401"/>
              <a:ext cx="547688" cy="550863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82" name="Line 816">
              <a:extLst>
                <a:ext uri="{FF2B5EF4-FFF2-40B4-BE49-F238E27FC236}">
                  <a16:creationId xmlns:a16="http://schemas.microsoft.com/office/drawing/2014/main" id="{71A8D804-C024-0EF9-BB17-C12F6B8D43E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7926" y="787401"/>
              <a:ext cx="746125" cy="434975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83" name="Line 817">
              <a:extLst>
                <a:ext uri="{FF2B5EF4-FFF2-40B4-BE49-F238E27FC236}">
                  <a16:creationId xmlns:a16="http://schemas.microsoft.com/office/drawing/2014/main" id="{0E8C681D-20FB-F11F-D8A5-A5F8097D34D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87926" y="787401"/>
              <a:ext cx="862013" cy="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84" name="Line 818">
              <a:extLst>
                <a:ext uri="{FF2B5EF4-FFF2-40B4-BE49-F238E27FC236}">
                  <a16:creationId xmlns:a16="http://schemas.microsoft.com/office/drawing/2014/main" id="{D4D828A2-9261-D5F0-03DE-426C5B913E7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87926" y="588964"/>
              <a:ext cx="746125" cy="19843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85" name="Line 819">
              <a:extLst>
                <a:ext uri="{FF2B5EF4-FFF2-40B4-BE49-F238E27FC236}">
                  <a16:creationId xmlns:a16="http://schemas.microsoft.com/office/drawing/2014/main" id="{9E13A639-B940-DCC3-17B0-A042D294227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87926" y="473076"/>
              <a:ext cx="547688" cy="314325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86" name="Line 820">
              <a:extLst>
                <a:ext uri="{FF2B5EF4-FFF2-40B4-BE49-F238E27FC236}">
                  <a16:creationId xmlns:a16="http://schemas.microsoft.com/office/drawing/2014/main" id="{B181FEBB-C8F2-7A5A-BE0B-AE6903B310C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87926" y="473076"/>
              <a:ext cx="315913" cy="314325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87" name="Line 821">
              <a:extLst>
                <a:ext uri="{FF2B5EF4-FFF2-40B4-BE49-F238E27FC236}">
                  <a16:creationId xmlns:a16="http://schemas.microsoft.com/office/drawing/2014/main" id="{64047331-8378-31FC-3EE9-2C6406EB1B6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987926" y="588964"/>
              <a:ext cx="115888" cy="4318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88" name="Line 822">
              <a:extLst>
                <a:ext uri="{FF2B5EF4-FFF2-40B4-BE49-F238E27FC236}">
                  <a16:creationId xmlns:a16="http://schemas.microsoft.com/office/drawing/2014/main" id="{48EAF1FB-8363-6823-C046-92F9D6E373C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03813" y="588964"/>
              <a:ext cx="0" cy="633413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89" name="Line 823">
              <a:extLst>
                <a:ext uri="{FF2B5EF4-FFF2-40B4-BE49-F238E27FC236}">
                  <a16:creationId xmlns:a16="http://schemas.microsoft.com/office/drawing/2014/main" id="{1DE90F0B-AE33-AFA3-89A6-1FA6F1510EF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03813" y="588964"/>
              <a:ext cx="200025" cy="7493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90" name="Line 824">
              <a:extLst>
                <a:ext uri="{FF2B5EF4-FFF2-40B4-BE49-F238E27FC236}">
                  <a16:creationId xmlns:a16="http://schemas.microsoft.com/office/drawing/2014/main" id="{401D6B02-A4D6-D932-C0FA-AF6B28491D7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03813" y="588964"/>
              <a:ext cx="431800" cy="7493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91" name="Line 825">
              <a:extLst>
                <a:ext uri="{FF2B5EF4-FFF2-40B4-BE49-F238E27FC236}">
                  <a16:creationId xmlns:a16="http://schemas.microsoft.com/office/drawing/2014/main" id="{BC3F6F21-DF1E-9466-B64C-5901C0795A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03813" y="588964"/>
              <a:ext cx="746125" cy="43180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92" name="Line 826">
              <a:extLst>
                <a:ext uri="{FF2B5EF4-FFF2-40B4-BE49-F238E27FC236}">
                  <a16:creationId xmlns:a16="http://schemas.microsoft.com/office/drawing/2014/main" id="{11ECBDA8-2890-0048-7B7C-82802BC338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03813" y="588964"/>
              <a:ext cx="746125" cy="19843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93" name="Line 827">
              <a:extLst>
                <a:ext uri="{FF2B5EF4-FFF2-40B4-BE49-F238E27FC236}">
                  <a16:creationId xmlns:a16="http://schemas.microsoft.com/office/drawing/2014/main" id="{53B19057-8673-C1FD-C7E0-0DA90EA3A1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03813" y="588964"/>
              <a:ext cx="630238" cy="0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94" name="Line 828">
              <a:extLst>
                <a:ext uri="{FF2B5EF4-FFF2-40B4-BE49-F238E27FC236}">
                  <a16:creationId xmlns:a16="http://schemas.microsoft.com/office/drawing/2014/main" id="{5EB2A8B3-7966-75D8-A15A-D7A3CD0F43D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03813" y="473076"/>
              <a:ext cx="431800" cy="115888"/>
            </a:xfrm>
            <a:prstGeom prst="line">
              <a:avLst/>
            </a:prstGeom>
            <a:grpFill/>
            <a:ln w="15875" cap="rnd">
              <a:solidFill>
                <a:srgbClr val="248DD8">
                  <a:alpha val="35000"/>
                </a:srgbClr>
              </a:solidFill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95" name="Freeform 829">
              <a:extLst>
                <a:ext uri="{FF2B5EF4-FFF2-40B4-BE49-F238E27FC236}">
                  <a16:creationId xmlns:a16="http://schemas.microsoft.com/office/drawing/2014/main" id="{A14590F5-CD0F-545B-3704-9B9B4A2970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2363" y="415926"/>
              <a:ext cx="974725" cy="979488"/>
            </a:xfrm>
            <a:custGeom>
              <a:avLst/>
              <a:gdLst>
                <a:gd name="T0" fmla="*/ 2147483647 w 260"/>
                <a:gd name="T1" fmla="*/ 2147483647 h 261"/>
                <a:gd name="T2" fmla="*/ 2147483647 w 260"/>
                <a:gd name="T3" fmla="*/ 2147483647 h 261"/>
                <a:gd name="T4" fmla="*/ 2147483647 w 260"/>
                <a:gd name="T5" fmla="*/ 2147483647 h 261"/>
                <a:gd name="T6" fmla="*/ 2147483647 w 260"/>
                <a:gd name="T7" fmla="*/ 2147483647 h 261"/>
                <a:gd name="T8" fmla="*/ 2147483647 w 260"/>
                <a:gd name="T9" fmla="*/ 2147483647 h 26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0" h="261">
                  <a:moveTo>
                    <a:pt x="229" y="187"/>
                  </a:moveTo>
                  <a:cubicBezTo>
                    <a:pt x="260" y="133"/>
                    <a:pt x="242" y="63"/>
                    <a:pt x="187" y="31"/>
                  </a:cubicBezTo>
                  <a:cubicBezTo>
                    <a:pt x="132" y="0"/>
                    <a:pt x="63" y="19"/>
                    <a:pt x="31" y="73"/>
                  </a:cubicBezTo>
                  <a:cubicBezTo>
                    <a:pt x="0" y="128"/>
                    <a:pt x="18" y="198"/>
                    <a:pt x="73" y="229"/>
                  </a:cubicBezTo>
                  <a:cubicBezTo>
                    <a:pt x="128" y="261"/>
                    <a:pt x="197" y="242"/>
                    <a:pt x="229" y="187"/>
                  </a:cubicBezTo>
                  <a:close/>
                </a:path>
              </a:pathLst>
            </a:custGeom>
            <a:grpFill/>
            <a:ln w="15875" cap="rnd">
              <a:solidFill>
                <a:srgbClr val="248DD8">
                  <a:alpha val="35000"/>
                </a:srgbClr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79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</p:grpSp>
      <p:pic>
        <p:nvPicPr>
          <p:cNvPr id="96" name="Grafik 70">
            <a:extLst>
              <a:ext uri="{FF2B5EF4-FFF2-40B4-BE49-F238E27FC236}">
                <a16:creationId xmlns:a16="http://schemas.microsoft.com/office/drawing/2014/main" id="{F31BB7B8-EF59-70D5-277C-0321926538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17504" y="4960998"/>
            <a:ext cx="482898" cy="482898"/>
          </a:xfrm>
          <a:prstGeom prst="rect">
            <a:avLst/>
          </a:prstGeom>
        </p:spPr>
      </p:pic>
      <p:pic>
        <p:nvPicPr>
          <p:cNvPr id="97" name="Grafik 70">
            <a:extLst>
              <a:ext uri="{FF2B5EF4-FFF2-40B4-BE49-F238E27FC236}">
                <a16:creationId xmlns:a16="http://schemas.microsoft.com/office/drawing/2014/main" id="{8A7DA763-355D-138F-57C2-845AD86AD3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27665" y="4947889"/>
            <a:ext cx="482898" cy="482898"/>
          </a:xfrm>
          <a:prstGeom prst="rect">
            <a:avLst/>
          </a:prstGeom>
        </p:spPr>
      </p:pic>
      <p:pic>
        <p:nvPicPr>
          <p:cNvPr id="98" name="Grafik 70">
            <a:extLst>
              <a:ext uri="{FF2B5EF4-FFF2-40B4-BE49-F238E27FC236}">
                <a16:creationId xmlns:a16="http://schemas.microsoft.com/office/drawing/2014/main" id="{93D52674-D615-B329-38F4-DFD3938A4CF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65847" y="4950673"/>
            <a:ext cx="482898" cy="482898"/>
          </a:xfrm>
          <a:prstGeom prst="rect">
            <a:avLst/>
          </a:prstGeom>
        </p:spPr>
      </p:pic>
      <p:grpSp>
        <p:nvGrpSpPr>
          <p:cNvPr id="99" name="Group 225">
            <a:extLst>
              <a:ext uri="{FF2B5EF4-FFF2-40B4-BE49-F238E27FC236}">
                <a16:creationId xmlns:a16="http://schemas.microsoft.com/office/drawing/2014/main" id="{620DFEF5-1830-3E71-A22C-8F6CE82925C2}"/>
              </a:ext>
            </a:extLst>
          </p:cNvPr>
          <p:cNvGrpSpPr/>
          <p:nvPr/>
        </p:nvGrpSpPr>
        <p:grpSpPr>
          <a:xfrm flipH="1">
            <a:off x="1205780" y="5657810"/>
            <a:ext cx="389606" cy="295782"/>
            <a:chOff x="3919538" y="1444625"/>
            <a:chExt cx="493713" cy="328613"/>
          </a:xfrm>
          <a:solidFill>
            <a:srgbClr val="248DD8"/>
          </a:solidFill>
        </p:grpSpPr>
        <p:sp>
          <p:nvSpPr>
            <p:cNvPr id="100" name="Freeform 83">
              <a:extLst>
                <a:ext uri="{FF2B5EF4-FFF2-40B4-BE49-F238E27FC236}">
                  <a16:creationId xmlns:a16="http://schemas.microsoft.com/office/drawing/2014/main" id="{BF54A991-3112-799E-F93C-CFD43E33279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9538" y="1444625"/>
              <a:ext cx="493713" cy="328613"/>
            </a:xfrm>
            <a:custGeom>
              <a:avLst/>
              <a:gdLst/>
              <a:ahLst/>
              <a:cxnLst>
                <a:cxn ang="0">
                  <a:pos x="1831" y="1099"/>
                </a:cxn>
                <a:cxn ang="0">
                  <a:pos x="1624" y="36"/>
                </a:cxn>
                <a:cxn ang="0">
                  <a:pos x="1622" y="29"/>
                </a:cxn>
                <a:cxn ang="0">
                  <a:pos x="1617" y="16"/>
                </a:cxn>
                <a:cxn ang="0">
                  <a:pos x="1606" y="6"/>
                </a:cxn>
                <a:cxn ang="0">
                  <a:pos x="1592" y="1"/>
                </a:cxn>
                <a:cxn ang="0">
                  <a:pos x="282" y="0"/>
                </a:cxn>
                <a:cxn ang="0">
                  <a:pos x="274" y="1"/>
                </a:cxn>
                <a:cxn ang="0">
                  <a:pos x="260" y="6"/>
                </a:cxn>
                <a:cxn ang="0">
                  <a:pos x="249" y="16"/>
                </a:cxn>
                <a:cxn ang="0">
                  <a:pos x="244" y="29"/>
                </a:cxn>
                <a:cxn ang="0">
                  <a:pos x="242" y="889"/>
                </a:cxn>
                <a:cxn ang="0">
                  <a:pos x="35" y="1099"/>
                </a:cxn>
                <a:cxn ang="0">
                  <a:pos x="22" y="1112"/>
                </a:cxn>
                <a:cxn ang="0">
                  <a:pos x="8" y="1132"/>
                </a:cxn>
                <a:cxn ang="0">
                  <a:pos x="1" y="1148"/>
                </a:cxn>
                <a:cxn ang="0">
                  <a:pos x="0" y="1174"/>
                </a:cxn>
                <a:cxn ang="0">
                  <a:pos x="0" y="1208"/>
                </a:cxn>
                <a:cxn ang="0">
                  <a:pos x="0" y="1215"/>
                </a:cxn>
                <a:cxn ang="0">
                  <a:pos x="5" y="1225"/>
                </a:cxn>
                <a:cxn ang="0">
                  <a:pos x="13" y="1232"/>
                </a:cxn>
                <a:cxn ang="0">
                  <a:pos x="27" y="1239"/>
                </a:cxn>
                <a:cxn ang="0">
                  <a:pos x="45" y="1241"/>
                </a:cxn>
                <a:cxn ang="0">
                  <a:pos x="940" y="1241"/>
                </a:cxn>
                <a:cxn ang="0">
                  <a:pos x="1820" y="1241"/>
                </a:cxn>
                <a:cxn ang="0">
                  <a:pos x="1834" y="1240"/>
                </a:cxn>
                <a:cxn ang="0">
                  <a:pos x="1851" y="1236"/>
                </a:cxn>
                <a:cxn ang="0">
                  <a:pos x="1858" y="1230"/>
                </a:cxn>
                <a:cxn ang="0">
                  <a:pos x="1864" y="1221"/>
                </a:cxn>
                <a:cxn ang="0">
                  <a:pos x="1866" y="1208"/>
                </a:cxn>
                <a:cxn ang="0">
                  <a:pos x="1866" y="1174"/>
                </a:cxn>
                <a:cxn ang="0">
                  <a:pos x="1865" y="1156"/>
                </a:cxn>
                <a:cxn ang="0">
                  <a:pos x="1861" y="1140"/>
                </a:cxn>
                <a:cxn ang="0">
                  <a:pos x="1852" y="1122"/>
                </a:cxn>
                <a:cxn ang="0">
                  <a:pos x="1831" y="1099"/>
                </a:cxn>
                <a:cxn ang="0">
                  <a:pos x="967" y="1119"/>
                </a:cxn>
                <a:cxn ang="0">
                  <a:pos x="756" y="1119"/>
                </a:cxn>
                <a:cxn ang="0">
                  <a:pos x="899" y="1034"/>
                </a:cxn>
                <a:cxn ang="0">
                  <a:pos x="1060" y="1034"/>
                </a:cxn>
                <a:cxn ang="0">
                  <a:pos x="967" y="1119"/>
                </a:cxn>
                <a:cxn ang="0">
                  <a:pos x="366" y="822"/>
                </a:cxn>
                <a:cxn ang="0">
                  <a:pos x="1500" y="126"/>
                </a:cxn>
              </a:cxnLst>
              <a:rect l="0" t="0" r="r" b="b"/>
              <a:pathLst>
                <a:path w="1866" h="1241">
                  <a:moveTo>
                    <a:pt x="1831" y="1099"/>
                  </a:moveTo>
                  <a:lnTo>
                    <a:pt x="1831" y="1099"/>
                  </a:lnTo>
                  <a:lnTo>
                    <a:pt x="1624" y="889"/>
                  </a:lnTo>
                  <a:lnTo>
                    <a:pt x="1624" y="36"/>
                  </a:lnTo>
                  <a:lnTo>
                    <a:pt x="1624" y="36"/>
                  </a:lnTo>
                  <a:lnTo>
                    <a:pt x="1622" y="29"/>
                  </a:lnTo>
                  <a:lnTo>
                    <a:pt x="1620" y="22"/>
                  </a:lnTo>
                  <a:lnTo>
                    <a:pt x="1617" y="16"/>
                  </a:lnTo>
                  <a:lnTo>
                    <a:pt x="1612" y="10"/>
                  </a:lnTo>
                  <a:lnTo>
                    <a:pt x="1606" y="6"/>
                  </a:lnTo>
                  <a:lnTo>
                    <a:pt x="1599" y="2"/>
                  </a:lnTo>
                  <a:lnTo>
                    <a:pt x="1592" y="1"/>
                  </a:lnTo>
                  <a:lnTo>
                    <a:pt x="1584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74" y="1"/>
                  </a:lnTo>
                  <a:lnTo>
                    <a:pt x="267" y="2"/>
                  </a:lnTo>
                  <a:lnTo>
                    <a:pt x="260" y="6"/>
                  </a:lnTo>
                  <a:lnTo>
                    <a:pt x="254" y="10"/>
                  </a:lnTo>
                  <a:lnTo>
                    <a:pt x="249" y="16"/>
                  </a:lnTo>
                  <a:lnTo>
                    <a:pt x="246" y="22"/>
                  </a:lnTo>
                  <a:lnTo>
                    <a:pt x="244" y="29"/>
                  </a:lnTo>
                  <a:lnTo>
                    <a:pt x="242" y="36"/>
                  </a:lnTo>
                  <a:lnTo>
                    <a:pt x="242" y="889"/>
                  </a:lnTo>
                  <a:lnTo>
                    <a:pt x="242" y="889"/>
                  </a:lnTo>
                  <a:lnTo>
                    <a:pt x="35" y="1099"/>
                  </a:lnTo>
                  <a:lnTo>
                    <a:pt x="35" y="1099"/>
                  </a:lnTo>
                  <a:lnTo>
                    <a:pt x="22" y="1112"/>
                  </a:lnTo>
                  <a:lnTo>
                    <a:pt x="14" y="1122"/>
                  </a:lnTo>
                  <a:lnTo>
                    <a:pt x="8" y="1132"/>
                  </a:lnTo>
                  <a:lnTo>
                    <a:pt x="4" y="1140"/>
                  </a:lnTo>
                  <a:lnTo>
                    <a:pt x="1" y="1148"/>
                  </a:lnTo>
                  <a:lnTo>
                    <a:pt x="0" y="1156"/>
                  </a:lnTo>
                  <a:lnTo>
                    <a:pt x="0" y="1174"/>
                  </a:lnTo>
                  <a:lnTo>
                    <a:pt x="0" y="1174"/>
                  </a:lnTo>
                  <a:lnTo>
                    <a:pt x="0" y="1208"/>
                  </a:lnTo>
                  <a:lnTo>
                    <a:pt x="0" y="1208"/>
                  </a:lnTo>
                  <a:lnTo>
                    <a:pt x="0" y="1215"/>
                  </a:lnTo>
                  <a:lnTo>
                    <a:pt x="2" y="1221"/>
                  </a:lnTo>
                  <a:lnTo>
                    <a:pt x="5" y="1225"/>
                  </a:lnTo>
                  <a:lnTo>
                    <a:pt x="8" y="1230"/>
                  </a:lnTo>
                  <a:lnTo>
                    <a:pt x="13" y="1232"/>
                  </a:lnTo>
                  <a:lnTo>
                    <a:pt x="17" y="1236"/>
                  </a:lnTo>
                  <a:lnTo>
                    <a:pt x="27" y="1239"/>
                  </a:lnTo>
                  <a:lnTo>
                    <a:pt x="37" y="1240"/>
                  </a:lnTo>
                  <a:lnTo>
                    <a:pt x="45" y="1241"/>
                  </a:lnTo>
                  <a:lnTo>
                    <a:pt x="54" y="1241"/>
                  </a:lnTo>
                  <a:lnTo>
                    <a:pt x="940" y="1241"/>
                  </a:lnTo>
                  <a:lnTo>
                    <a:pt x="1820" y="1241"/>
                  </a:lnTo>
                  <a:lnTo>
                    <a:pt x="1820" y="1241"/>
                  </a:lnTo>
                  <a:lnTo>
                    <a:pt x="1827" y="1241"/>
                  </a:lnTo>
                  <a:lnTo>
                    <a:pt x="1834" y="1240"/>
                  </a:lnTo>
                  <a:lnTo>
                    <a:pt x="1843" y="1239"/>
                  </a:lnTo>
                  <a:lnTo>
                    <a:pt x="1851" y="1236"/>
                  </a:lnTo>
                  <a:lnTo>
                    <a:pt x="1854" y="1232"/>
                  </a:lnTo>
                  <a:lnTo>
                    <a:pt x="1858" y="1230"/>
                  </a:lnTo>
                  <a:lnTo>
                    <a:pt x="1861" y="1225"/>
                  </a:lnTo>
                  <a:lnTo>
                    <a:pt x="1864" y="1221"/>
                  </a:lnTo>
                  <a:lnTo>
                    <a:pt x="1865" y="1215"/>
                  </a:lnTo>
                  <a:lnTo>
                    <a:pt x="1866" y="1208"/>
                  </a:lnTo>
                  <a:lnTo>
                    <a:pt x="1866" y="1208"/>
                  </a:lnTo>
                  <a:lnTo>
                    <a:pt x="1866" y="1174"/>
                  </a:lnTo>
                  <a:lnTo>
                    <a:pt x="1866" y="1174"/>
                  </a:lnTo>
                  <a:lnTo>
                    <a:pt x="1865" y="1156"/>
                  </a:lnTo>
                  <a:lnTo>
                    <a:pt x="1865" y="1148"/>
                  </a:lnTo>
                  <a:lnTo>
                    <a:pt x="1861" y="1140"/>
                  </a:lnTo>
                  <a:lnTo>
                    <a:pt x="1858" y="1132"/>
                  </a:lnTo>
                  <a:lnTo>
                    <a:pt x="1852" y="1122"/>
                  </a:lnTo>
                  <a:lnTo>
                    <a:pt x="1843" y="1112"/>
                  </a:lnTo>
                  <a:lnTo>
                    <a:pt x="1831" y="1099"/>
                  </a:lnTo>
                  <a:lnTo>
                    <a:pt x="1831" y="1099"/>
                  </a:lnTo>
                  <a:close/>
                  <a:moveTo>
                    <a:pt x="967" y="1119"/>
                  </a:moveTo>
                  <a:lnTo>
                    <a:pt x="899" y="1119"/>
                  </a:lnTo>
                  <a:lnTo>
                    <a:pt x="756" y="1119"/>
                  </a:lnTo>
                  <a:lnTo>
                    <a:pt x="805" y="1034"/>
                  </a:lnTo>
                  <a:lnTo>
                    <a:pt x="899" y="1034"/>
                  </a:lnTo>
                  <a:lnTo>
                    <a:pt x="967" y="1034"/>
                  </a:lnTo>
                  <a:lnTo>
                    <a:pt x="1060" y="1034"/>
                  </a:lnTo>
                  <a:lnTo>
                    <a:pt x="1110" y="1119"/>
                  </a:lnTo>
                  <a:lnTo>
                    <a:pt x="967" y="1119"/>
                  </a:lnTo>
                  <a:close/>
                  <a:moveTo>
                    <a:pt x="1500" y="822"/>
                  </a:moveTo>
                  <a:lnTo>
                    <a:pt x="366" y="822"/>
                  </a:lnTo>
                  <a:lnTo>
                    <a:pt x="366" y="126"/>
                  </a:lnTo>
                  <a:lnTo>
                    <a:pt x="1500" y="126"/>
                  </a:lnTo>
                  <a:lnTo>
                    <a:pt x="1500" y="8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01" name="Rectangle 84">
              <a:extLst>
                <a:ext uri="{FF2B5EF4-FFF2-40B4-BE49-F238E27FC236}">
                  <a16:creationId xmlns:a16="http://schemas.microsoft.com/office/drawing/2014/main" id="{89F6849C-59FF-5DD8-C9E6-1C4A88EE2E1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0" y="1616075"/>
              <a:ext cx="14288" cy="301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02" name="Rectangle 85">
              <a:extLst>
                <a:ext uri="{FF2B5EF4-FFF2-40B4-BE49-F238E27FC236}">
                  <a16:creationId xmlns:a16="http://schemas.microsoft.com/office/drawing/2014/main" id="{1B70DA2D-8349-BEA0-0330-19B693D2C9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4475" y="1604963"/>
              <a:ext cx="12700" cy="412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03" name="Rectangle 86">
              <a:extLst>
                <a:ext uri="{FF2B5EF4-FFF2-40B4-BE49-F238E27FC236}">
                  <a16:creationId xmlns:a16="http://schemas.microsoft.com/office/drawing/2014/main" id="{70C3EA68-B113-F671-2B6B-E5814C8CF4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5113" y="1590675"/>
              <a:ext cx="14288" cy="555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04" name="Rectangle 87">
              <a:extLst>
                <a:ext uri="{FF2B5EF4-FFF2-40B4-BE49-F238E27FC236}">
                  <a16:creationId xmlns:a16="http://schemas.microsoft.com/office/drawing/2014/main" id="{48E4B091-3B73-EDF7-319A-A8DE0F41FF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5750" y="1598613"/>
              <a:ext cx="14288" cy="476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05" name="Rectangle 88">
              <a:extLst>
                <a:ext uri="{FF2B5EF4-FFF2-40B4-BE49-F238E27FC236}">
                  <a16:creationId xmlns:a16="http://schemas.microsoft.com/office/drawing/2014/main" id="{2B787B05-7C4D-5413-58B3-2D7FDF5594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6388" y="1582738"/>
              <a:ext cx="14288" cy="635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06" name="Rectangle 89">
              <a:extLst>
                <a:ext uri="{FF2B5EF4-FFF2-40B4-BE49-F238E27FC236}">
                  <a16:creationId xmlns:a16="http://schemas.microsoft.com/office/drawing/2014/main" id="{0A334507-CF2F-743D-CB3C-AF5079D556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7025" y="1565275"/>
              <a:ext cx="14288" cy="809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07" name="Rectangle 90">
              <a:extLst>
                <a:ext uri="{FF2B5EF4-FFF2-40B4-BE49-F238E27FC236}">
                  <a16:creationId xmlns:a16="http://schemas.microsoft.com/office/drawing/2014/main" id="{4CB74EC9-8597-B85B-3BAC-C057B80779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9250" y="1558925"/>
              <a:ext cx="12700" cy="873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08" name="Rectangle 91">
              <a:extLst>
                <a:ext uri="{FF2B5EF4-FFF2-40B4-BE49-F238E27FC236}">
                  <a16:creationId xmlns:a16="http://schemas.microsoft.com/office/drawing/2014/main" id="{37B74251-B771-3D4F-AABA-209614F60C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9888" y="1571625"/>
              <a:ext cx="14288" cy="746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09" name="Rectangle 92">
              <a:extLst>
                <a:ext uri="{FF2B5EF4-FFF2-40B4-BE49-F238E27FC236}">
                  <a16:creationId xmlns:a16="http://schemas.microsoft.com/office/drawing/2014/main" id="{E252EDB0-8EA6-9F81-96E4-141936ED8A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0525" y="1539875"/>
              <a:ext cx="14288" cy="1063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10" name="Rectangle 93">
              <a:extLst>
                <a:ext uri="{FF2B5EF4-FFF2-40B4-BE49-F238E27FC236}">
                  <a16:creationId xmlns:a16="http://schemas.microsoft.com/office/drawing/2014/main" id="{25A59327-E06B-9E30-8F61-AD9DF2B2EE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163" y="1527175"/>
              <a:ext cx="14288" cy="1190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11" name="Rectangle 94">
              <a:extLst>
                <a:ext uri="{FF2B5EF4-FFF2-40B4-BE49-F238E27FC236}">
                  <a16:creationId xmlns:a16="http://schemas.microsoft.com/office/drawing/2014/main" id="{1007B312-651A-D73A-EC33-6DDF17C52E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3388" y="1533525"/>
              <a:ext cx="12700" cy="1127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12" name="Rectangle 95">
              <a:extLst>
                <a:ext uri="{FF2B5EF4-FFF2-40B4-BE49-F238E27FC236}">
                  <a16:creationId xmlns:a16="http://schemas.microsoft.com/office/drawing/2014/main" id="{DC6DA30B-1D09-2A6D-3311-99F6015B3C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4025" y="1514475"/>
              <a:ext cx="14288" cy="1317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13" name="Rectangle 96">
              <a:extLst>
                <a:ext uri="{FF2B5EF4-FFF2-40B4-BE49-F238E27FC236}">
                  <a16:creationId xmlns:a16="http://schemas.microsoft.com/office/drawing/2014/main" id="{FB3DF22A-1F2D-1E28-FBC9-83DC10C405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4663" y="1495425"/>
              <a:ext cx="14288" cy="1508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</p:grpSp>
      <p:grpSp>
        <p:nvGrpSpPr>
          <p:cNvPr id="129" name="Group 225">
            <a:extLst>
              <a:ext uri="{FF2B5EF4-FFF2-40B4-BE49-F238E27FC236}">
                <a16:creationId xmlns:a16="http://schemas.microsoft.com/office/drawing/2014/main" id="{F500F0FA-BCF7-4D39-B759-85B92E600A6C}"/>
              </a:ext>
            </a:extLst>
          </p:cNvPr>
          <p:cNvGrpSpPr/>
          <p:nvPr/>
        </p:nvGrpSpPr>
        <p:grpSpPr>
          <a:xfrm>
            <a:off x="2515760" y="5820662"/>
            <a:ext cx="389606" cy="295782"/>
            <a:chOff x="3919538" y="1444625"/>
            <a:chExt cx="493713" cy="328613"/>
          </a:xfrm>
          <a:solidFill>
            <a:srgbClr val="248DD8"/>
          </a:solidFill>
        </p:grpSpPr>
        <p:sp>
          <p:nvSpPr>
            <p:cNvPr id="130" name="Freeform 83">
              <a:extLst>
                <a:ext uri="{FF2B5EF4-FFF2-40B4-BE49-F238E27FC236}">
                  <a16:creationId xmlns:a16="http://schemas.microsoft.com/office/drawing/2014/main" id="{AAE6F345-B863-DB5C-0521-C543B57D8E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9538" y="1444625"/>
              <a:ext cx="493713" cy="328613"/>
            </a:xfrm>
            <a:custGeom>
              <a:avLst/>
              <a:gdLst/>
              <a:ahLst/>
              <a:cxnLst>
                <a:cxn ang="0">
                  <a:pos x="1831" y="1099"/>
                </a:cxn>
                <a:cxn ang="0">
                  <a:pos x="1624" y="36"/>
                </a:cxn>
                <a:cxn ang="0">
                  <a:pos x="1622" y="29"/>
                </a:cxn>
                <a:cxn ang="0">
                  <a:pos x="1617" y="16"/>
                </a:cxn>
                <a:cxn ang="0">
                  <a:pos x="1606" y="6"/>
                </a:cxn>
                <a:cxn ang="0">
                  <a:pos x="1592" y="1"/>
                </a:cxn>
                <a:cxn ang="0">
                  <a:pos x="282" y="0"/>
                </a:cxn>
                <a:cxn ang="0">
                  <a:pos x="274" y="1"/>
                </a:cxn>
                <a:cxn ang="0">
                  <a:pos x="260" y="6"/>
                </a:cxn>
                <a:cxn ang="0">
                  <a:pos x="249" y="16"/>
                </a:cxn>
                <a:cxn ang="0">
                  <a:pos x="244" y="29"/>
                </a:cxn>
                <a:cxn ang="0">
                  <a:pos x="242" y="889"/>
                </a:cxn>
                <a:cxn ang="0">
                  <a:pos x="35" y="1099"/>
                </a:cxn>
                <a:cxn ang="0">
                  <a:pos x="22" y="1112"/>
                </a:cxn>
                <a:cxn ang="0">
                  <a:pos x="8" y="1132"/>
                </a:cxn>
                <a:cxn ang="0">
                  <a:pos x="1" y="1148"/>
                </a:cxn>
                <a:cxn ang="0">
                  <a:pos x="0" y="1174"/>
                </a:cxn>
                <a:cxn ang="0">
                  <a:pos x="0" y="1208"/>
                </a:cxn>
                <a:cxn ang="0">
                  <a:pos x="0" y="1215"/>
                </a:cxn>
                <a:cxn ang="0">
                  <a:pos x="5" y="1225"/>
                </a:cxn>
                <a:cxn ang="0">
                  <a:pos x="13" y="1232"/>
                </a:cxn>
                <a:cxn ang="0">
                  <a:pos x="27" y="1239"/>
                </a:cxn>
                <a:cxn ang="0">
                  <a:pos x="45" y="1241"/>
                </a:cxn>
                <a:cxn ang="0">
                  <a:pos x="940" y="1241"/>
                </a:cxn>
                <a:cxn ang="0">
                  <a:pos x="1820" y="1241"/>
                </a:cxn>
                <a:cxn ang="0">
                  <a:pos x="1834" y="1240"/>
                </a:cxn>
                <a:cxn ang="0">
                  <a:pos x="1851" y="1236"/>
                </a:cxn>
                <a:cxn ang="0">
                  <a:pos x="1858" y="1230"/>
                </a:cxn>
                <a:cxn ang="0">
                  <a:pos x="1864" y="1221"/>
                </a:cxn>
                <a:cxn ang="0">
                  <a:pos x="1866" y="1208"/>
                </a:cxn>
                <a:cxn ang="0">
                  <a:pos x="1866" y="1174"/>
                </a:cxn>
                <a:cxn ang="0">
                  <a:pos x="1865" y="1156"/>
                </a:cxn>
                <a:cxn ang="0">
                  <a:pos x="1861" y="1140"/>
                </a:cxn>
                <a:cxn ang="0">
                  <a:pos x="1852" y="1122"/>
                </a:cxn>
                <a:cxn ang="0">
                  <a:pos x="1831" y="1099"/>
                </a:cxn>
                <a:cxn ang="0">
                  <a:pos x="967" y="1119"/>
                </a:cxn>
                <a:cxn ang="0">
                  <a:pos x="756" y="1119"/>
                </a:cxn>
                <a:cxn ang="0">
                  <a:pos x="899" y="1034"/>
                </a:cxn>
                <a:cxn ang="0">
                  <a:pos x="1060" y="1034"/>
                </a:cxn>
                <a:cxn ang="0">
                  <a:pos x="967" y="1119"/>
                </a:cxn>
                <a:cxn ang="0">
                  <a:pos x="366" y="822"/>
                </a:cxn>
                <a:cxn ang="0">
                  <a:pos x="1500" y="126"/>
                </a:cxn>
              </a:cxnLst>
              <a:rect l="0" t="0" r="r" b="b"/>
              <a:pathLst>
                <a:path w="1866" h="1241">
                  <a:moveTo>
                    <a:pt x="1831" y="1099"/>
                  </a:moveTo>
                  <a:lnTo>
                    <a:pt x="1831" y="1099"/>
                  </a:lnTo>
                  <a:lnTo>
                    <a:pt x="1624" y="889"/>
                  </a:lnTo>
                  <a:lnTo>
                    <a:pt x="1624" y="36"/>
                  </a:lnTo>
                  <a:lnTo>
                    <a:pt x="1624" y="36"/>
                  </a:lnTo>
                  <a:lnTo>
                    <a:pt x="1622" y="29"/>
                  </a:lnTo>
                  <a:lnTo>
                    <a:pt x="1620" y="22"/>
                  </a:lnTo>
                  <a:lnTo>
                    <a:pt x="1617" y="16"/>
                  </a:lnTo>
                  <a:lnTo>
                    <a:pt x="1612" y="10"/>
                  </a:lnTo>
                  <a:lnTo>
                    <a:pt x="1606" y="6"/>
                  </a:lnTo>
                  <a:lnTo>
                    <a:pt x="1599" y="2"/>
                  </a:lnTo>
                  <a:lnTo>
                    <a:pt x="1592" y="1"/>
                  </a:lnTo>
                  <a:lnTo>
                    <a:pt x="1584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74" y="1"/>
                  </a:lnTo>
                  <a:lnTo>
                    <a:pt x="267" y="2"/>
                  </a:lnTo>
                  <a:lnTo>
                    <a:pt x="260" y="6"/>
                  </a:lnTo>
                  <a:lnTo>
                    <a:pt x="254" y="10"/>
                  </a:lnTo>
                  <a:lnTo>
                    <a:pt x="249" y="16"/>
                  </a:lnTo>
                  <a:lnTo>
                    <a:pt x="246" y="22"/>
                  </a:lnTo>
                  <a:lnTo>
                    <a:pt x="244" y="29"/>
                  </a:lnTo>
                  <a:lnTo>
                    <a:pt x="242" y="36"/>
                  </a:lnTo>
                  <a:lnTo>
                    <a:pt x="242" y="889"/>
                  </a:lnTo>
                  <a:lnTo>
                    <a:pt x="242" y="889"/>
                  </a:lnTo>
                  <a:lnTo>
                    <a:pt x="35" y="1099"/>
                  </a:lnTo>
                  <a:lnTo>
                    <a:pt x="35" y="1099"/>
                  </a:lnTo>
                  <a:lnTo>
                    <a:pt x="22" y="1112"/>
                  </a:lnTo>
                  <a:lnTo>
                    <a:pt x="14" y="1122"/>
                  </a:lnTo>
                  <a:lnTo>
                    <a:pt x="8" y="1132"/>
                  </a:lnTo>
                  <a:lnTo>
                    <a:pt x="4" y="1140"/>
                  </a:lnTo>
                  <a:lnTo>
                    <a:pt x="1" y="1148"/>
                  </a:lnTo>
                  <a:lnTo>
                    <a:pt x="0" y="1156"/>
                  </a:lnTo>
                  <a:lnTo>
                    <a:pt x="0" y="1174"/>
                  </a:lnTo>
                  <a:lnTo>
                    <a:pt x="0" y="1174"/>
                  </a:lnTo>
                  <a:lnTo>
                    <a:pt x="0" y="1208"/>
                  </a:lnTo>
                  <a:lnTo>
                    <a:pt x="0" y="1208"/>
                  </a:lnTo>
                  <a:lnTo>
                    <a:pt x="0" y="1215"/>
                  </a:lnTo>
                  <a:lnTo>
                    <a:pt x="2" y="1221"/>
                  </a:lnTo>
                  <a:lnTo>
                    <a:pt x="5" y="1225"/>
                  </a:lnTo>
                  <a:lnTo>
                    <a:pt x="8" y="1230"/>
                  </a:lnTo>
                  <a:lnTo>
                    <a:pt x="13" y="1232"/>
                  </a:lnTo>
                  <a:lnTo>
                    <a:pt x="17" y="1236"/>
                  </a:lnTo>
                  <a:lnTo>
                    <a:pt x="27" y="1239"/>
                  </a:lnTo>
                  <a:lnTo>
                    <a:pt x="37" y="1240"/>
                  </a:lnTo>
                  <a:lnTo>
                    <a:pt x="45" y="1241"/>
                  </a:lnTo>
                  <a:lnTo>
                    <a:pt x="54" y="1241"/>
                  </a:lnTo>
                  <a:lnTo>
                    <a:pt x="940" y="1241"/>
                  </a:lnTo>
                  <a:lnTo>
                    <a:pt x="1820" y="1241"/>
                  </a:lnTo>
                  <a:lnTo>
                    <a:pt x="1820" y="1241"/>
                  </a:lnTo>
                  <a:lnTo>
                    <a:pt x="1827" y="1241"/>
                  </a:lnTo>
                  <a:lnTo>
                    <a:pt x="1834" y="1240"/>
                  </a:lnTo>
                  <a:lnTo>
                    <a:pt x="1843" y="1239"/>
                  </a:lnTo>
                  <a:lnTo>
                    <a:pt x="1851" y="1236"/>
                  </a:lnTo>
                  <a:lnTo>
                    <a:pt x="1854" y="1232"/>
                  </a:lnTo>
                  <a:lnTo>
                    <a:pt x="1858" y="1230"/>
                  </a:lnTo>
                  <a:lnTo>
                    <a:pt x="1861" y="1225"/>
                  </a:lnTo>
                  <a:lnTo>
                    <a:pt x="1864" y="1221"/>
                  </a:lnTo>
                  <a:lnTo>
                    <a:pt x="1865" y="1215"/>
                  </a:lnTo>
                  <a:lnTo>
                    <a:pt x="1866" y="1208"/>
                  </a:lnTo>
                  <a:lnTo>
                    <a:pt x="1866" y="1208"/>
                  </a:lnTo>
                  <a:lnTo>
                    <a:pt x="1866" y="1174"/>
                  </a:lnTo>
                  <a:lnTo>
                    <a:pt x="1866" y="1174"/>
                  </a:lnTo>
                  <a:lnTo>
                    <a:pt x="1865" y="1156"/>
                  </a:lnTo>
                  <a:lnTo>
                    <a:pt x="1865" y="1148"/>
                  </a:lnTo>
                  <a:lnTo>
                    <a:pt x="1861" y="1140"/>
                  </a:lnTo>
                  <a:lnTo>
                    <a:pt x="1858" y="1132"/>
                  </a:lnTo>
                  <a:lnTo>
                    <a:pt x="1852" y="1122"/>
                  </a:lnTo>
                  <a:lnTo>
                    <a:pt x="1843" y="1112"/>
                  </a:lnTo>
                  <a:lnTo>
                    <a:pt x="1831" y="1099"/>
                  </a:lnTo>
                  <a:lnTo>
                    <a:pt x="1831" y="1099"/>
                  </a:lnTo>
                  <a:close/>
                  <a:moveTo>
                    <a:pt x="967" y="1119"/>
                  </a:moveTo>
                  <a:lnTo>
                    <a:pt x="899" y="1119"/>
                  </a:lnTo>
                  <a:lnTo>
                    <a:pt x="756" y="1119"/>
                  </a:lnTo>
                  <a:lnTo>
                    <a:pt x="805" y="1034"/>
                  </a:lnTo>
                  <a:lnTo>
                    <a:pt x="899" y="1034"/>
                  </a:lnTo>
                  <a:lnTo>
                    <a:pt x="967" y="1034"/>
                  </a:lnTo>
                  <a:lnTo>
                    <a:pt x="1060" y="1034"/>
                  </a:lnTo>
                  <a:lnTo>
                    <a:pt x="1110" y="1119"/>
                  </a:lnTo>
                  <a:lnTo>
                    <a:pt x="967" y="1119"/>
                  </a:lnTo>
                  <a:close/>
                  <a:moveTo>
                    <a:pt x="1500" y="822"/>
                  </a:moveTo>
                  <a:lnTo>
                    <a:pt x="366" y="822"/>
                  </a:lnTo>
                  <a:lnTo>
                    <a:pt x="366" y="126"/>
                  </a:lnTo>
                  <a:lnTo>
                    <a:pt x="1500" y="126"/>
                  </a:lnTo>
                  <a:lnTo>
                    <a:pt x="1500" y="8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31" name="Rectangle 84">
              <a:extLst>
                <a:ext uri="{FF2B5EF4-FFF2-40B4-BE49-F238E27FC236}">
                  <a16:creationId xmlns:a16="http://schemas.microsoft.com/office/drawing/2014/main" id="{06D8D9AA-F689-F934-7F6E-D500D69C685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0" y="1616075"/>
              <a:ext cx="14288" cy="301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32" name="Rectangle 85">
              <a:extLst>
                <a:ext uri="{FF2B5EF4-FFF2-40B4-BE49-F238E27FC236}">
                  <a16:creationId xmlns:a16="http://schemas.microsoft.com/office/drawing/2014/main" id="{D5F92538-8806-BD05-1443-313CA44AEF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4475" y="1604963"/>
              <a:ext cx="12700" cy="412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33" name="Rectangle 86">
              <a:extLst>
                <a:ext uri="{FF2B5EF4-FFF2-40B4-BE49-F238E27FC236}">
                  <a16:creationId xmlns:a16="http://schemas.microsoft.com/office/drawing/2014/main" id="{74669BB4-F244-68D1-A7F6-C270C2D7DC3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5113" y="1590675"/>
              <a:ext cx="14288" cy="555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34" name="Rectangle 87">
              <a:extLst>
                <a:ext uri="{FF2B5EF4-FFF2-40B4-BE49-F238E27FC236}">
                  <a16:creationId xmlns:a16="http://schemas.microsoft.com/office/drawing/2014/main" id="{03B95F2A-F2FF-6942-9302-E2010302049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5750" y="1598613"/>
              <a:ext cx="14288" cy="476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35" name="Rectangle 88">
              <a:extLst>
                <a:ext uri="{FF2B5EF4-FFF2-40B4-BE49-F238E27FC236}">
                  <a16:creationId xmlns:a16="http://schemas.microsoft.com/office/drawing/2014/main" id="{4A21E0C4-B42A-1648-D037-E16E568665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6388" y="1582738"/>
              <a:ext cx="14288" cy="635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36" name="Rectangle 89">
              <a:extLst>
                <a:ext uri="{FF2B5EF4-FFF2-40B4-BE49-F238E27FC236}">
                  <a16:creationId xmlns:a16="http://schemas.microsoft.com/office/drawing/2014/main" id="{14FDD38E-C673-C4F6-E376-E736EB80EF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7025" y="1565275"/>
              <a:ext cx="14288" cy="809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37" name="Rectangle 90">
              <a:extLst>
                <a:ext uri="{FF2B5EF4-FFF2-40B4-BE49-F238E27FC236}">
                  <a16:creationId xmlns:a16="http://schemas.microsoft.com/office/drawing/2014/main" id="{171F2FC9-AD6B-7268-C395-D3A39FC8DE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9250" y="1558925"/>
              <a:ext cx="12700" cy="873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38" name="Rectangle 91">
              <a:extLst>
                <a:ext uri="{FF2B5EF4-FFF2-40B4-BE49-F238E27FC236}">
                  <a16:creationId xmlns:a16="http://schemas.microsoft.com/office/drawing/2014/main" id="{DB64E1BA-A9F7-6C71-C47D-00D310080F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9888" y="1571625"/>
              <a:ext cx="14288" cy="746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39" name="Rectangle 92">
              <a:extLst>
                <a:ext uri="{FF2B5EF4-FFF2-40B4-BE49-F238E27FC236}">
                  <a16:creationId xmlns:a16="http://schemas.microsoft.com/office/drawing/2014/main" id="{6466D1BB-F9C5-8263-E7CB-B01E0A4919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0525" y="1539875"/>
              <a:ext cx="14288" cy="1063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40" name="Rectangle 93">
              <a:extLst>
                <a:ext uri="{FF2B5EF4-FFF2-40B4-BE49-F238E27FC236}">
                  <a16:creationId xmlns:a16="http://schemas.microsoft.com/office/drawing/2014/main" id="{9732F6A7-F79C-91C1-D56F-C7544C5107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163" y="1527175"/>
              <a:ext cx="14288" cy="1190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41" name="Rectangle 94">
              <a:extLst>
                <a:ext uri="{FF2B5EF4-FFF2-40B4-BE49-F238E27FC236}">
                  <a16:creationId xmlns:a16="http://schemas.microsoft.com/office/drawing/2014/main" id="{754FBD38-A521-6B2B-8AEE-425F0354FD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3388" y="1533525"/>
              <a:ext cx="12700" cy="1127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42" name="Rectangle 95">
              <a:extLst>
                <a:ext uri="{FF2B5EF4-FFF2-40B4-BE49-F238E27FC236}">
                  <a16:creationId xmlns:a16="http://schemas.microsoft.com/office/drawing/2014/main" id="{11CAE64D-3BD4-D44F-A4DB-A139AFA41C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4025" y="1514475"/>
              <a:ext cx="14288" cy="1317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43" name="Rectangle 96">
              <a:extLst>
                <a:ext uri="{FF2B5EF4-FFF2-40B4-BE49-F238E27FC236}">
                  <a16:creationId xmlns:a16="http://schemas.microsoft.com/office/drawing/2014/main" id="{153FA1A9-66C0-67BA-3992-E532FDB0D2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4663" y="1495425"/>
              <a:ext cx="14288" cy="1508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</p:grpSp>
      <p:pic>
        <p:nvPicPr>
          <p:cNvPr id="144" name="Grafik 70">
            <a:extLst>
              <a:ext uri="{FF2B5EF4-FFF2-40B4-BE49-F238E27FC236}">
                <a16:creationId xmlns:a16="http://schemas.microsoft.com/office/drawing/2014/main" id="{3218754F-B6CF-69D3-0062-7EB48EA1AF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54590" y="4184634"/>
            <a:ext cx="482898" cy="482898"/>
          </a:xfrm>
          <a:prstGeom prst="rect">
            <a:avLst/>
          </a:prstGeom>
        </p:spPr>
      </p:pic>
      <p:pic>
        <p:nvPicPr>
          <p:cNvPr id="145" name="Grafik 70">
            <a:extLst>
              <a:ext uri="{FF2B5EF4-FFF2-40B4-BE49-F238E27FC236}">
                <a16:creationId xmlns:a16="http://schemas.microsoft.com/office/drawing/2014/main" id="{8AB0EE98-8CAF-C624-5203-805E3C0C679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598165" y="4184634"/>
            <a:ext cx="482898" cy="482898"/>
          </a:xfrm>
          <a:prstGeom prst="rect">
            <a:avLst/>
          </a:prstGeom>
        </p:spPr>
      </p:pic>
      <p:grpSp>
        <p:nvGrpSpPr>
          <p:cNvPr id="146" name="Group 225">
            <a:extLst>
              <a:ext uri="{FF2B5EF4-FFF2-40B4-BE49-F238E27FC236}">
                <a16:creationId xmlns:a16="http://schemas.microsoft.com/office/drawing/2014/main" id="{6FB5D7E5-1D06-C77B-E611-89A699B2829C}"/>
              </a:ext>
            </a:extLst>
          </p:cNvPr>
          <p:cNvGrpSpPr/>
          <p:nvPr/>
        </p:nvGrpSpPr>
        <p:grpSpPr>
          <a:xfrm>
            <a:off x="3490336" y="5548846"/>
            <a:ext cx="389606" cy="295782"/>
            <a:chOff x="3919538" y="1444625"/>
            <a:chExt cx="493713" cy="328613"/>
          </a:xfrm>
          <a:solidFill>
            <a:srgbClr val="248DD8"/>
          </a:solidFill>
        </p:grpSpPr>
        <p:sp>
          <p:nvSpPr>
            <p:cNvPr id="147" name="Freeform 83">
              <a:extLst>
                <a:ext uri="{FF2B5EF4-FFF2-40B4-BE49-F238E27FC236}">
                  <a16:creationId xmlns:a16="http://schemas.microsoft.com/office/drawing/2014/main" id="{D6F22C48-77A3-32ED-82A4-F112F202C4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9538" y="1444625"/>
              <a:ext cx="493713" cy="328613"/>
            </a:xfrm>
            <a:custGeom>
              <a:avLst/>
              <a:gdLst/>
              <a:ahLst/>
              <a:cxnLst>
                <a:cxn ang="0">
                  <a:pos x="1831" y="1099"/>
                </a:cxn>
                <a:cxn ang="0">
                  <a:pos x="1624" y="36"/>
                </a:cxn>
                <a:cxn ang="0">
                  <a:pos x="1622" y="29"/>
                </a:cxn>
                <a:cxn ang="0">
                  <a:pos x="1617" y="16"/>
                </a:cxn>
                <a:cxn ang="0">
                  <a:pos x="1606" y="6"/>
                </a:cxn>
                <a:cxn ang="0">
                  <a:pos x="1592" y="1"/>
                </a:cxn>
                <a:cxn ang="0">
                  <a:pos x="282" y="0"/>
                </a:cxn>
                <a:cxn ang="0">
                  <a:pos x="274" y="1"/>
                </a:cxn>
                <a:cxn ang="0">
                  <a:pos x="260" y="6"/>
                </a:cxn>
                <a:cxn ang="0">
                  <a:pos x="249" y="16"/>
                </a:cxn>
                <a:cxn ang="0">
                  <a:pos x="244" y="29"/>
                </a:cxn>
                <a:cxn ang="0">
                  <a:pos x="242" y="889"/>
                </a:cxn>
                <a:cxn ang="0">
                  <a:pos x="35" y="1099"/>
                </a:cxn>
                <a:cxn ang="0">
                  <a:pos x="22" y="1112"/>
                </a:cxn>
                <a:cxn ang="0">
                  <a:pos x="8" y="1132"/>
                </a:cxn>
                <a:cxn ang="0">
                  <a:pos x="1" y="1148"/>
                </a:cxn>
                <a:cxn ang="0">
                  <a:pos x="0" y="1174"/>
                </a:cxn>
                <a:cxn ang="0">
                  <a:pos x="0" y="1208"/>
                </a:cxn>
                <a:cxn ang="0">
                  <a:pos x="0" y="1215"/>
                </a:cxn>
                <a:cxn ang="0">
                  <a:pos x="5" y="1225"/>
                </a:cxn>
                <a:cxn ang="0">
                  <a:pos x="13" y="1232"/>
                </a:cxn>
                <a:cxn ang="0">
                  <a:pos x="27" y="1239"/>
                </a:cxn>
                <a:cxn ang="0">
                  <a:pos x="45" y="1241"/>
                </a:cxn>
                <a:cxn ang="0">
                  <a:pos x="940" y="1241"/>
                </a:cxn>
                <a:cxn ang="0">
                  <a:pos x="1820" y="1241"/>
                </a:cxn>
                <a:cxn ang="0">
                  <a:pos x="1834" y="1240"/>
                </a:cxn>
                <a:cxn ang="0">
                  <a:pos x="1851" y="1236"/>
                </a:cxn>
                <a:cxn ang="0">
                  <a:pos x="1858" y="1230"/>
                </a:cxn>
                <a:cxn ang="0">
                  <a:pos x="1864" y="1221"/>
                </a:cxn>
                <a:cxn ang="0">
                  <a:pos x="1866" y="1208"/>
                </a:cxn>
                <a:cxn ang="0">
                  <a:pos x="1866" y="1174"/>
                </a:cxn>
                <a:cxn ang="0">
                  <a:pos x="1865" y="1156"/>
                </a:cxn>
                <a:cxn ang="0">
                  <a:pos x="1861" y="1140"/>
                </a:cxn>
                <a:cxn ang="0">
                  <a:pos x="1852" y="1122"/>
                </a:cxn>
                <a:cxn ang="0">
                  <a:pos x="1831" y="1099"/>
                </a:cxn>
                <a:cxn ang="0">
                  <a:pos x="967" y="1119"/>
                </a:cxn>
                <a:cxn ang="0">
                  <a:pos x="756" y="1119"/>
                </a:cxn>
                <a:cxn ang="0">
                  <a:pos x="899" y="1034"/>
                </a:cxn>
                <a:cxn ang="0">
                  <a:pos x="1060" y="1034"/>
                </a:cxn>
                <a:cxn ang="0">
                  <a:pos x="967" y="1119"/>
                </a:cxn>
                <a:cxn ang="0">
                  <a:pos x="366" y="822"/>
                </a:cxn>
                <a:cxn ang="0">
                  <a:pos x="1500" y="126"/>
                </a:cxn>
              </a:cxnLst>
              <a:rect l="0" t="0" r="r" b="b"/>
              <a:pathLst>
                <a:path w="1866" h="1241">
                  <a:moveTo>
                    <a:pt x="1831" y="1099"/>
                  </a:moveTo>
                  <a:lnTo>
                    <a:pt x="1831" y="1099"/>
                  </a:lnTo>
                  <a:lnTo>
                    <a:pt x="1624" y="889"/>
                  </a:lnTo>
                  <a:lnTo>
                    <a:pt x="1624" y="36"/>
                  </a:lnTo>
                  <a:lnTo>
                    <a:pt x="1624" y="36"/>
                  </a:lnTo>
                  <a:lnTo>
                    <a:pt x="1622" y="29"/>
                  </a:lnTo>
                  <a:lnTo>
                    <a:pt x="1620" y="22"/>
                  </a:lnTo>
                  <a:lnTo>
                    <a:pt x="1617" y="16"/>
                  </a:lnTo>
                  <a:lnTo>
                    <a:pt x="1612" y="10"/>
                  </a:lnTo>
                  <a:lnTo>
                    <a:pt x="1606" y="6"/>
                  </a:lnTo>
                  <a:lnTo>
                    <a:pt x="1599" y="2"/>
                  </a:lnTo>
                  <a:lnTo>
                    <a:pt x="1592" y="1"/>
                  </a:lnTo>
                  <a:lnTo>
                    <a:pt x="1584" y="0"/>
                  </a:lnTo>
                  <a:lnTo>
                    <a:pt x="282" y="0"/>
                  </a:lnTo>
                  <a:lnTo>
                    <a:pt x="282" y="0"/>
                  </a:lnTo>
                  <a:lnTo>
                    <a:pt x="274" y="1"/>
                  </a:lnTo>
                  <a:lnTo>
                    <a:pt x="267" y="2"/>
                  </a:lnTo>
                  <a:lnTo>
                    <a:pt x="260" y="6"/>
                  </a:lnTo>
                  <a:lnTo>
                    <a:pt x="254" y="10"/>
                  </a:lnTo>
                  <a:lnTo>
                    <a:pt x="249" y="16"/>
                  </a:lnTo>
                  <a:lnTo>
                    <a:pt x="246" y="22"/>
                  </a:lnTo>
                  <a:lnTo>
                    <a:pt x="244" y="29"/>
                  </a:lnTo>
                  <a:lnTo>
                    <a:pt x="242" y="36"/>
                  </a:lnTo>
                  <a:lnTo>
                    <a:pt x="242" y="889"/>
                  </a:lnTo>
                  <a:lnTo>
                    <a:pt x="242" y="889"/>
                  </a:lnTo>
                  <a:lnTo>
                    <a:pt x="35" y="1099"/>
                  </a:lnTo>
                  <a:lnTo>
                    <a:pt x="35" y="1099"/>
                  </a:lnTo>
                  <a:lnTo>
                    <a:pt x="22" y="1112"/>
                  </a:lnTo>
                  <a:lnTo>
                    <a:pt x="14" y="1122"/>
                  </a:lnTo>
                  <a:lnTo>
                    <a:pt x="8" y="1132"/>
                  </a:lnTo>
                  <a:lnTo>
                    <a:pt x="4" y="1140"/>
                  </a:lnTo>
                  <a:lnTo>
                    <a:pt x="1" y="1148"/>
                  </a:lnTo>
                  <a:lnTo>
                    <a:pt x="0" y="1156"/>
                  </a:lnTo>
                  <a:lnTo>
                    <a:pt x="0" y="1174"/>
                  </a:lnTo>
                  <a:lnTo>
                    <a:pt x="0" y="1174"/>
                  </a:lnTo>
                  <a:lnTo>
                    <a:pt x="0" y="1208"/>
                  </a:lnTo>
                  <a:lnTo>
                    <a:pt x="0" y="1208"/>
                  </a:lnTo>
                  <a:lnTo>
                    <a:pt x="0" y="1215"/>
                  </a:lnTo>
                  <a:lnTo>
                    <a:pt x="2" y="1221"/>
                  </a:lnTo>
                  <a:lnTo>
                    <a:pt x="5" y="1225"/>
                  </a:lnTo>
                  <a:lnTo>
                    <a:pt x="8" y="1230"/>
                  </a:lnTo>
                  <a:lnTo>
                    <a:pt x="13" y="1232"/>
                  </a:lnTo>
                  <a:lnTo>
                    <a:pt x="17" y="1236"/>
                  </a:lnTo>
                  <a:lnTo>
                    <a:pt x="27" y="1239"/>
                  </a:lnTo>
                  <a:lnTo>
                    <a:pt x="37" y="1240"/>
                  </a:lnTo>
                  <a:lnTo>
                    <a:pt x="45" y="1241"/>
                  </a:lnTo>
                  <a:lnTo>
                    <a:pt x="54" y="1241"/>
                  </a:lnTo>
                  <a:lnTo>
                    <a:pt x="940" y="1241"/>
                  </a:lnTo>
                  <a:lnTo>
                    <a:pt x="1820" y="1241"/>
                  </a:lnTo>
                  <a:lnTo>
                    <a:pt x="1820" y="1241"/>
                  </a:lnTo>
                  <a:lnTo>
                    <a:pt x="1827" y="1241"/>
                  </a:lnTo>
                  <a:lnTo>
                    <a:pt x="1834" y="1240"/>
                  </a:lnTo>
                  <a:lnTo>
                    <a:pt x="1843" y="1239"/>
                  </a:lnTo>
                  <a:lnTo>
                    <a:pt x="1851" y="1236"/>
                  </a:lnTo>
                  <a:lnTo>
                    <a:pt x="1854" y="1232"/>
                  </a:lnTo>
                  <a:lnTo>
                    <a:pt x="1858" y="1230"/>
                  </a:lnTo>
                  <a:lnTo>
                    <a:pt x="1861" y="1225"/>
                  </a:lnTo>
                  <a:lnTo>
                    <a:pt x="1864" y="1221"/>
                  </a:lnTo>
                  <a:lnTo>
                    <a:pt x="1865" y="1215"/>
                  </a:lnTo>
                  <a:lnTo>
                    <a:pt x="1866" y="1208"/>
                  </a:lnTo>
                  <a:lnTo>
                    <a:pt x="1866" y="1208"/>
                  </a:lnTo>
                  <a:lnTo>
                    <a:pt x="1866" y="1174"/>
                  </a:lnTo>
                  <a:lnTo>
                    <a:pt x="1866" y="1174"/>
                  </a:lnTo>
                  <a:lnTo>
                    <a:pt x="1865" y="1156"/>
                  </a:lnTo>
                  <a:lnTo>
                    <a:pt x="1865" y="1148"/>
                  </a:lnTo>
                  <a:lnTo>
                    <a:pt x="1861" y="1140"/>
                  </a:lnTo>
                  <a:lnTo>
                    <a:pt x="1858" y="1132"/>
                  </a:lnTo>
                  <a:lnTo>
                    <a:pt x="1852" y="1122"/>
                  </a:lnTo>
                  <a:lnTo>
                    <a:pt x="1843" y="1112"/>
                  </a:lnTo>
                  <a:lnTo>
                    <a:pt x="1831" y="1099"/>
                  </a:lnTo>
                  <a:lnTo>
                    <a:pt x="1831" y="1099"/>
                  </a:lnTo>
                  <a:close/>
                  <a:moveTo>
                    <a:pt x="967" y="1119"/>
                  </a:moveTo>
                  <a:lnTo>
                    <a:pt x="899" y="1119"/>
                  </a:lnTo>
                  <a:lnTo>
                    <a:pt x="756" y="1119"/>
                  </a:lnTo>
                  <a:lnTo>
                    <a:pt x="805" y="1034"/>
                  </a:lnTo>
                  <a:lnTo>
                    <a:pt x="899" y="1034"/>
                  </a:lnTo>
                  <a:lnTo>
                    <a:pt x="967" y="1034"/>
                  </a:lnTo>
                  <a:lnTo>
                    <a:pt x="1060" y="1034"/>
                  </a:lnTo>
                  <a:lnTo>
                    <a:pt x="1110" y="1119"/>
                  </a:lnTo>
                  <a:lnTo>
                    <a:pt x="967" y="1119"/>
                  </a:lnTo>
                  <a:close/>
                  <a:moveTo>
                    <a:pt x="1500" y="822"/>
                  </a:moveTo>
                  <a:lnTo>
                    <a:pt x="366" y="822"/>
                  </a:lnTo>
                  <a:lnTo>
                    <a:pt x="366" y="126"/>
                  </a:lnTo>
                  <a:lnTo>
                    <a:pt x="1500" y="126"/>
                  </a:lnTo>
                  <a:lnTo>
                    <a:pt x="1500" y="8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48" name="Rectangle 84">
              <a:extLst>
                <a:ext uri="{FF2B5EF4-FFF2-40B4-BE49-F238E27FC236}">
                  <a16:creationId xmlns:a16="http://schemas.microsoft.com/office/drawing/2014/main" id="{841524BF-D2A3-AB95-122F-2278C2DEDB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32250" y="1616075"/>
              <a:ext cx="14288" cy="301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49" name="Rectangle 85">
              <a:extLst>
                <a:ext uri="{FF2B5EF4-FFF2-40B4-BE49-F238E27FC236}">
                  <a16:creationId xmlns:a16="http://schemas.microsoft.com/office/drawing/2014/main" id="{8B85BAB6-B84E-3840-70F4-CC7809980C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4475" y="1604963"/>
              <a:ext cx="12700" cy="412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50" name="Rectangle 86">
              <a:extLst>
                <a:ext uri="{FF2B5EF4-FFF2-40B4-BE49-F238E27FC236}">
                  <a16:creationId xmlns:a16="http://schemas.microsoft.com/office/drawing/2014/main" id="{DEEF32B0-E23B-F255-1AAC-B0B0408DD5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75113" y="1590675"/>
              <a:ext cx="14288" cy="555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51" name="Rectangle 87">
              <a:extLst>
                <a:ext uri="{FF2B5EF4-FFF2-40B4-BE49-F238E27FC236}">
                  <a16:creationId xmlns:a16="http://schemas.microsoft.com/office/drawing/2014/main" id="{859960F6-08EF-E783-1856-7158A34FC9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95750" y="1598613"/>
              <a:ext cx="14288" cy="4762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52" name="Rectangle 88">
              <a:extLst>
                <a:ext uri="{FF2B5EF4-FFF2-40B4-BE49-F238E27FC236}">
                  <a16:creationId xmlns:a16="http://schemas.microsoft.com/office/drawing/2014/main" id="{ED984AC2-BFE9-A055-5692-88AC6C1E99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16388" y="1582738"/>
              <a:ext cx="14288" cy="6350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53" name="Rectangle 89">
              <a:extLst>
                <a:ext uri="{FF2B5EF4-FFF2-40B4-BE49-F238E27FC236}">
                  <a16:creationId xmlns:a16="http://schemas.microsoft.com/office/drawing/2014/main" id="{1C8AF9DB-F454-B9F0-972D-64AA841B69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37025" y="1565275"/>
              <a:ext cx="14288" cy="809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54" name="Rectangle 90">
              <a:extLst>
                <a:ext uri="{FF2B5EF4-FFF2-40B4-BE49-F238E27FC236}">
                  <a16:creationId xmlns:a16="http://schemas.microsoft.com/office/drawing/2014/main" id="{90BD22DE-8DE5-0699-A4B7-A40696F0841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59250" y="1558925"/>
              <a:ext cx="12700" cy="873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55" name="Rectangle 91">
              <a:extLst>
                <a:ext uri="{FF2B5EF4-FFF2-40B4-BE49-F238E27FC236}">
                  <a16:creationId xmlns:a16="http://schemas.microsoft.com/office/drawing/2014/main" id="{CA1F7A90-6735-C383-98AA-55025340AE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179888" y="1571625"/>
              <a:ext cx="14288" cy="746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56" name="Rectangle 92">
              <a:extLst>
                <a:ext uri="{FF2B5EF4-FFF2-40B4-BE49-F238E27FC236}">
                  <a16:creationId xmlns:a16="http://schemas.microsoft.com/office/drawing/2014/main" id="{DDA9101F-501B-0827-79D4-A698EA6E82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0525" y="1539875"/>
              <a:ext cx="14288" cy="1063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57" name="Rectangle 93">
              <a:extLst>
                <a:ext uri="{FF2B5EF4-FFF2-40B4-BE49-F238E27FC236}">
                  <a16:creationId xmlns:a16="http://schemas.microsoft.com/office/drawing/2014/main" id="{0CE09E1B-C135-BAB3-206C-8A040A0A0A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21163" y="1527175"/>
              <a:ext cx="14288" cy="1190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58" name="Rectangle 94">
              <a:extLst>
                <a:ext uri="{FF2B5EF4-FFF2-40B4-BE49-F238E27FC236}">
                  <a16:creationId xmlns:a16="http://schemas.microsoft.com/office/drawing/2014/main" id="{4B0C1347-B54C-7CCB-65E6-A82CE74629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43388" y="1533525"/>
              <a:ext cx="12700" cy="1127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59" name="Rectangle 95">
              <a:extLst>
                <a:ext uri="{FF2B5EF4-FFF2-40B4-BE49-F238E27FC236}">
                  <a16:creationId xmlns:a16="http://schemas.microsoft.com/office/drawing/2014/main" id="{BF8A2AEB-4A8E-DAF5-4FDD-A6192E7A65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64025" y="1514475"/>
              <a:ext cx="14288" cy="13176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  <p:sp>
          <p:nvSpPr>
            <p:cNvPr id="160" name="Rectangle 96">
              <a:extLst>
                <a:ext uri="{FF2B5EF4-FFF2-40B4-BE49-F238E27FC236}">
                  <a16:creationId xmlns:a16="http://schemas.microsoft.com/office/drawing/2014/main" id="{B02D2269-962E-08A8-F56F-E66C9DC31D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84663" y="1495425"/>
              <a:ext cx="14288" cy="1508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</a:endParaRPr>
            </a:p>
          </p:txBody>
        </p:sp>
      </p:grpSp>
      <p:pic>
        <p:nvPicPr>
          <p:cNvPr id="166" name="Afbeelding 165">
            <a:extLst>
              <a:ext uri="{FF2B5EF4-FFF2-40B4-BE49-F238E27FC236}">
                <a16:creationId xmlns:a16="http://schemas.microsoft.com/office/drawing/2014/main" id="{C5374650-E4C1-BABA-1BE0-CD4C60ED178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49874" y="1410730"/>
            <a:ext cx="3359041" cy="3136079"/>
          </a:xfrm>
          <a:prstGeom prst="rect">
            <a:avLst/>
          </a:prstGeom>
        </p:spPr>
      </p:pic>
      <p:pic>
        <p:nvPicPr>
          <p:cNvPr id="170" name="Afbeelding 169">
            <a:extLst>
              <a:ext uri="{FF2B5EF4-FFF2-40B4-BE49-F238E27FC236}">
                <a16:creationId xmlns:a16="http://schemas.microsoft.com/office/drawing/2014/main" id="{8F68C32A-9086-8B64-A16D-D4E12FFC7B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10882" y="4122668"/>
            <a:ext cx="1618744" cy="1621381"/>
          </a:xfrm>
          <a:prstGeom prst="rect">
            <a:avLst/>
          </a:prstGeom>
        </p:spPr>
      </p:pic>
      <p:pic>
        <p:nvPicPr>
          <p:cNvPr id="174" name="Afbeelding 173">
            <a:extLst>
              <a:ext uri="{FF2B5EF4-FFF2-40B4-BE49-F238E27FC236}">
                <a16:creationId xmlns:a16="http://schemas.microsoft.com/office/drawing/2014/main" id="{7F4B246D-4599-F5AD-9771-D031B618199D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219121" y="5024701"/>
            <a:ext cx="1207123" cy="1207123"/>
          </a:xfrm>
          <a:prstGeom prst="rect">
            <a:avLst/>
          </a:prstGeom>
        </p:spPr>
      </p:pic>
      <p:pic>
        <p:nvPicPr>
          <p:cNvPr id="176" name="Afbeelding 175">
            <a:extLst>
              <a:ext uri="{FF2B5EF4-FFF2-40B4-BE49-F238E27FC236}">
                <a16:creationId xmlns:a16="http://schemas.microsoft.com/office/drawing/2014/main" id="{88463EBB-EB17-9023-24C2-A4933DB8EF2A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428549" y="1824678"/>
            <a:ext cx="1207123" cy="1207123"/>
          </a:xfrm>
          <a:prstGeom prst="rect">
            <a:avLst/>
          </a:prstGeom>
        </p:spPr>
      </p:pic>
      <p:cxnSp>
        <p:nvCxnSpPr>
          <p:cNvPr id="178" name="Rechte verbindingslijn 177">
            <a:extLst>
              <a:ext uri="{FF2B5EF4-FFF2-40B4-BE49-F238E27FC236}">
                <a16:creationId xmlns:a16="http://schemas.microsoft.com/office/drawing/2014/main" id="{9A5A12E7-4FC4-46F0-E957-7D35D3C14507}"/>
              </a:ext>
            </a:extLst>
          </p:cNvPr>
          <p:cNvCxnSpPr>
            <a:stCxn id="96" idx="0"/>
            <a:endCxn id="144" idx="2"/>
          </p:cNvCxnSpPr>
          <p:nvPr/>
        </p:nvCxnSpPr>
        <p:spPr>
          <a:xfrm flipV="1">
            <a:off x="1758953" y="4667532"/>
            <a:ext cx="337086" cy="2934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Rechte verbindingslijn 179">
            <a:extLst>
              <a:ext uri="{FF2B5EF4-FFF2-40B4-BE49-F238E27FC236}">
                <a16:creationId xmlns:a16="http://schemas.microsoft.com/office/drawing/2014/main" id="{4A1BF75A-88DB-02D0-E951-E0FDE3C1474A}"/>
              </a:ext>
            </a:extLst>
          </p:cNvPr>
          <p:cNvCxnSpPr>
            <a:stCxn id="144" idx="2"/>
            <a:endCxn id="97" idx="0"/>
          </p:cNvCxnSpPr>
          <p:nvPr/>
        </p:nvCxnSpPr>
        <p:spPr>
          <a:xfrm>
            <a:off x="2096039" y="4667532"/>
            <a:ext cx="373075" cy="2803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Rechte verbindingslijn 180">
            <a:extLst>
              <a:ext uri="{FF2B5EF4-FFF2-40B4-BE49-F238E27FC236}">
                <a16:creationId xmlns:a16="http://schemas.microsoft.com/office/drawing/2014/main" id="{887692B9-743C-8A29-9EE8-6E49A2D3EC4B}"/>
              </a:ext>
            </a:extLst>
          </p:cNvPr>
          <p:cNvCxnSpPr>
            <a:cxnSpLocks/>
            <a:stCxn id="145" idx="2"/>
            <a:endCxn id="97" idx="0"/>
          </p:cNvCxnSpPr>
          <p:nvPr/>
        </p:nvCxnSpPr>
        <p:spPr>
          <a:xfrm flipH="1">
            <a:off x="2469114" y="4667532"/>
            <a:ext cx="370500" cy="28035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Rechte verbindingslijn 183">
            <a:extLst>
              <a:ext uri="{FF2B5EF4-FFF2-40B4-BE49-F238E27FC236}">
                <a16:creationId xmlns:a16="http://schemas.microsoft.com/office/drawing/2014/main" id="{CF886C60-53B4-52D7-78C5-6E40656B80DD}"/>
              </a:ext>
            </a:extLst>
          </p:cNvPr>
          <p:cNvCxnSpPr>
            <a:cxnSpLocks/>
            <a:stCxn id="145" idx="2"/>
            <a:endCxn id="98" idx="0"/>
          </p:cNvCxnSpPr>
          <p:nvPr/>
        </p:nvCxnSpPr>
        <p:spPr>
          <a:xfrm>
            <a:off x="2839614" y="4667532"/>
            <a:ext cx="367682" cy="2831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Rechte verbindingslijn 186">
            <a:extLst>
              <a:ext uri="{FF2B5EF4-FFF2-40B4-BE49-F238E27FC236}">
                <a16:creationId xmlns:a16="http://schemas.microsoft.com/office/drawing/2014/main" id="{DA6F2195-52F2-D927-DA96-96058251B456}"/>
              </a:ext>
            </a:extLst>
          </p:cNvPr>
          <p:cNvCxnSpPr>
            <a:cxnSpLocks/>
            <a:stCxn id="98" idx="2"/>
            <a:endCxn id="147" idx="26"/>
          </p:cNvCxnSpPr>
          <p:nvPr/>
        </p:nvCxnSpPr>
        <p:spPr>
          <a:xfrm>
            <a:off x="3207296" y="5433571"/>
            <a:ext cx="284891" cy="11651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Rechte verbindingslijn 191">
            <a:extLst>
              <a:ext uri="{FF2B5EF4-FFF2-40B4-BE49-F238E27FC236}">
                <a16:creationId xmlns:a16="http://schemas.microsoft.com/office/drawing/2014/main" id="{9976FBFE-E830-4596-5A19-4425F74EED25}"/>
              </a:ext>
            </a:extLst>
          </p:cNvPr>
          <p:cNvCxnSpPr>
            <a:stCxn id="97" idx="2"/>
            <a:endCxn id="130" idx="28"/>
          </p:cNvCxnSpPr>
          <p:nvPr/>
        </p:nvCxnSpPr>
        <p:spPr>
          <a:xfrm>
            <a:off x="2469114" y="5430787"/>
            <a:ext cx="48510" cy="3910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Rechte verbindingslijn 193">
            <a:extLst>
              <a:ext uri="{FF2B5EF4-FFF2-40B4-BE49-F238E27FC236}">
                <a16:creationId xmlns:a16="http://schemas.microsoft.com/office/drawing/2014/main" id="{7869D94F-3B56-5AE9-A264-C1A17AE109D0}"/>
              </a:ext>
            </a:extLst>
          </p:cNvPr>
          <p:cNvCxnSpPr>
            <a:cxnSpLocks/>
            <a:stCxn id="100" idx="28"/>
            <a:endCxn id="96" idx="2"/>
          </p:cNvCxnSpPr>
          <p:nvPr/>
        </p:nvCxnSpPr>
        <p:spPr>
          <a:xfrm flipV="1">
            <a:off x="1593522" y="5443896"/>
            <a:ext cx="165431" cy="2151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7" name="Rechte verbindingslijn 196">
            <a:extLst>
              <a:ext uri="{FF2B5EF4-FFF2-40B4-BE49-F238E27FC236}">
                <a16:creationId xmlns:a16="http://schemas.microsoft.com/office/drawing/2014/main" id="{02418D5E-4F81-D281-BEB6-B8AF0B505E85}"/>
              </a:ext>
            </a:extLst>
          </p:cNvPr>
          <p:cNvCxnSpPr>
            <a:stCxn id="98" idx="0"/>
            <a:endCxn id="144" idx="2"/>
          </p:cNvCxnSpPr>
          <p:nvPr/>
        </p:nvCxnSpPr>
        <p:spPr>
          <a:xfrm flipH="1" flipV="1">
            <a:off x="2096039" y="4667532"/>
            <a:ext cx="1111257" cy="2831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Rechte verbindingslijn 198">
            <a:extLst>
              <a:ext uri="{FF2B5EF4-FFF2-40B4-BE49-F238E27FC236}">
                <a16:creationId xmlns:a16="http://schemas.microsoft.com/office/drawing/2014/main" id="{6955FA7C-E5C6-DA43-9E63-D3AA8EE3DE2B}"/>
              </a:ext>
            </a:extLst>
          </p:cNvPr>
          <p:cNvCxnSpPr>
            <a:stCxn id="96" idx="0"/>
            <a:endCxn id="145" idx="2"/>
          </p:cNvCxnSpPr>
          <p:nvPr/>
        </p:nvCxnSpPr>
        <p:spPr>
          <a:xfrm flipV="1">
            <a:off x="1758953" y="4667532"/>
            <a:ext cx="1080661" cy="29346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Rechte verbindingslijn 200">
            <a:extLst>
              <a:ext uri="{FF2B5EF4-FFF2-40B4-BE49-F238E27FC236}">
                <a16:creationId xmlns:a16="http://schemas.microsoft.com/office/drawing/2014/main" id="{2C19856F-89F9-FE66-9F1A-7596321AC57B}"/>
              </a:ext>
            </a:extLst>
          </p:cNvPr>
          <p:cNvCxnSpPr>
            <a:cxnSpLocks/>
            <a:stCxn id="144" idx="3"/>
            <a:endCxn id="145" idx="1"/>
          </p:cNvCxnSpPr>
          <p:nvPr/>
        </p:nvCxnSpPr>
        <p:spPr>
          <a:xfrm>
            <a:off x="2337488" y="4426083"/>
            <a:ext cx="26067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5057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95833E-6 -2.96296E-6 L -0.06367 -0.30764 " pathEditMode="relative" rAng="0" ptsTypes="AA">
                                      <p:cBhvr>
                                        <p:cTn id="9" dur="2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90" y="-1539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3.7037E-7 L 0.18386 -0.0919 " pathEditMode="relative" rAng="0" ptsTypes="AA">
                                      <p:cBhvr>
                                        <p:cTn id="11" dur="2000" fill="hold"/>
                                        <p:tgtEl>
                                          <p:spTgt spid="1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193" y="-4606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0833E-6 -3.7037E-7 L 0.03269 -0.24213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1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28" y="-12106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33333E-7 4.07407E-6 L 0.06003 -0.00139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995" y="-69"/>
                                    </p:animMotion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54167E-6 4.44444E-6 L 0.09453 -0.30811 " pathEditMode="relative" rAng="0" ptsTypes="AA">
                                      <p:cBhvr>
                                        <p:cTn id="17" dur="2000" fill="hold"/>
                                        <p:tgtEl>
                                          <p:spTgt spid="1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727" y="-15417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75E-6 -3.7037E-7 L -0.12149 -0.47292 " pathEditMode="relative" rAng="0" ptsTypes="AA">
                                      <p:cBhvr>
                                        <p:cTn id="19" dur="20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081" y="-23657"/>
                                    </p:animMotion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19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500"/>
                                        <p:tgtEl>
                                          <p:spTgt spid="19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500"/>
                                        <p:tgtEl>
                                          <p:spTgt spid="18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3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2" dur="500"/>
                                        <p:tgtEl>
                                          <p:spTgt spid="19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5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0CDD04CF-425D-9746-86D7-4F0A054AB9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5551" y="2932139"/>
            <a:ext cx="8816449" cy="49435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8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B4FACBDA-95F4-7F23-1DCB-94081EB6C17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FF2B5EF4-FFF2-40B4-BE49-F238E27FC236}">
                <a16:creationId xmlns:lc="http://schemas.openxmlformats.org/drawingml/2006/lockedCanvas" xmlns:arto="http://schemas.microsoft.com/office/word/2006/arto" xmlns:a16="http://schemas.microsoft.com/office/drawing/2014/main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pic="http://schemas.openxmlformats.org/drawingml/2006/picture" xmlns:wps="http://schemas.microsoft.com/office/word/2010/wordprocessingShape" xmlns:wne="http://schemas.microsoft.com/office/word/2006/wordml" xmlns:wpi="http://schemas.microsoft.com/office/word/2010/wordprocessingInk" xmlns:wpg="http://schemas.microsoft.com/office/word/2010/wordprocessingGroup" xmlns:w16se="http://schemas.microsoft.com/office/word/2015/wordml/symex" xmlns:w16sdtdh="http://schemas.microsoft.com/office/word/2020/wordml/sdtdatahash" xmlns:w16="http://schemas.microsoft.com/office/word/2018/wordml" xmlns:w16cid="http://schemas.microsoft.com/office/word/2016/wordml/cid" xmlns:w16cex="http://schemas.microsoft.com/office/word/2018/wordml/cex" xmlns:w15="http://schemas.microsoft.com/office/word/2012/wordml" xmlns:w14="http://schemas.microsoft.com/office/word/2010/wordml" xmlns:wp="http://schemas.openxmlformats.org/drawingml/2006/wordprocessingDrawing" xmlns:wp14="http://schemas.microsoft.com/office/word/2010/wordprocessingDrawing" xmlns:m="http://schemas.openxmlformats.org/officeDocument/2006/math" xmlns:oel="http://schemas.microsoft.com/office/2019/extlst" xmlns:am3d="http://schemas.microsoft.com/office/drawing/2017/model3d" xmlns:aink="http://schemas.microsoft.com/office/drawing/2016/ink" xmlns:mc="http://schemas.openxmlformats.org/markup-compatibility/2006" xmlns:cx8="http://schemas.microsoft.com/office/drawing/2016/5/14/chartex" xmlns:cx7="http://schemas.microsoft.com/office/drawing/2016/5/13/chartex" xmlns:cx6="http://schemas.microsoft.com/office/drawing/2016/5/12/chartex" xmlns:cx5="http://schemas.microsoft.com/office/drawing/2016/5/11/chartex" xmlns:cx4="http://schemas.microsoft.com/office/drawing/2016/5/10/chartex" xmlns:cx3="http://schemas.microsoft.com/office/drawing/2016/5/9/chartex" xmlns:cx2="http://schemas.microsoft.com/office/drawing/2015/10/21/chartex" xmlns:cx1="http://schemas.microsoft.com/office/drawing/2015/9/8/chartex" xmlns:cx="http://schemas.microsoft.com/office/drawing/2014/chartex" xmlns:wpc="http://schemas.microsoft.com/office/word/2010/wordprocessingCanvas" xmlns="" id="{F311BCB3-B710-40D2-A479-F4C0FD8043DF}"/>
              </a:ext>
            </a:extLst>
          </a:blip>
          <a:srcRect l="13674" t="20767" r="13782" b="6815"/>
          <a:stretch>
            <a:fillRect/>
          </a:stretch>
        </p:blipFill>
        <p:spPr>
          <a:xfrm>
            <a:off x="1732624" y="0"/>
            <a:ext cx="8079674" cy="4544243"/>
          </a:xfrm>
          <a:prstGeom prst="rect">
            <a:avLst/>
          </a:prstGeom>
        </p:spPr>
      </p:pic>
      <p:pic>
        <p:nvPicPr>
          <p:cNvPr id="3" name="Picture 24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7C9990D6-7A7D-615D-2420-2B594B8EE1D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40434" y="4143785"/>
            <a:ext cx="4115985" cy="2745376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3" descr="Toegangscontrole.">
            <a:extLst>
              <a:ext uri="{FF2B5EF4-FFF2-40B4-BE49-F238E27FC236}">
                <a16:creationId xmlns:a16="http://schemas.microsoft.com/office/drawing/2014/main" id="{9BB1206F-32F4-789C-B6FC-A53816F135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9677995" y="2676192"/>
            <a:ext cx="2607361" cy="1868051"/>
          </a:xfrm>
          <a:prstGeom prst="rect">
            <a:avLst/>
          </a:prstGeom>
          <a:noFill/>
        </p:spPr>
      </p:pic>
      <p:pic>
        <p:nvPicPr>
          <p:cNvPr id="6" name="Picture 9" descr="pinautomaat">
            <a:extLst>
              <a:ext uri="{FF2B5EF4-FFF2-40B4-BE49-F238E27FC236}">
                <a16:creationId xmlns:a16="http://schemas.microsoft.com/office/drawing/2014/main" id="{33681510-D5F6-B4D4-42F0-0A0B8CCC58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-79496" y="2023872"/>
            <a:ext cx="3455047" cy="2126775"/>
          </a:xfrm>
          <a:prstGeom prst="rect">
            <a:avLst/>
          </a:prstGeom>
          <a:noFill/>
        </p:spPr>
      </p:pic>
      <p:pic>
        <p:nvPicPr>
          <p:cNvPr id="7" name="Picture 5" descr="drie betrappingen per dag dankzij camera s">
            <a:extLst>
              <a:ext uri="{FF2B5EF4-FFF2-40B4-BE49-F238E27FC236}">
                <a16:creationId xmlns:a16="http://schemas.microsoft.com/office/drawing/2014/main" id="{5A326D57-6E5B-4610-7973-F5AE35D7A3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-92741" y="-85344"/>
            <a:ext cx="3470926" cy="2221316"/>
          </a:xfrm>
          <a:prstGeom prst="rect">
            <a:avLst/>
          </a:prstGeom>
          <a:noFill/>
        </p:spPr>
      </p:pic>
      <p:pic>
        <p:nvPicPr>
          <p:cNvPr id="12" name="Picture 2" descr="cisco - IoT Central">
            <a:extLst>
              <a:ext uri="{FF2B5EF4-FFF2-40B4-BE49-F238E27FC236}">
                <a16:creationId xmlns:a16="http://schemas.microsoft.com/office/drawing/2014/main" id="{BEFC3645-EED8-DDCC-C178-72F82A4716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1430" y="-24384"/>
            <a:ext cx="4158902" cy="27277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3266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jdelijke aanduiding voor inhoud 30">
            <a:extLst>
              <a:ext uri="{FF2B5EF4-FFF2-40B4-BE49-F238E27FC236}">
                <a16:creationId xmlns:a16="http://schemas.microsoft.com/office/drawing/2014/main" id="{7A4B9B15-604B-93AA-CF2E-C1614A543B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178665" y="3813597"/>
            <a:ext cx="1836089" cy="551815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nl-NL" sz="1400"/>
              <a:t>VPN</a:t>
            </a:r>
          </a:p>
          <a:p>
            <a:pPr marL="0" indent="0" algn="ctr">
              <a:buNone/>
            </a:pPr>
            <a:r>
              <a:rPr lang="nl-NL" sz="1400" err="1"/>
              <a:t>MACSec</a:t>
            </a:r>
            <a:endParaRPr lang="nl-NL" sz="1400"/>
          </a:p>
          <a:p>
            <a:pPr marL="0" indent="0" algn="ctr">
              <a:buNone/>
            </a:pPr>
            <a:r>
              <a:rPr lang="nl-NL" sz="1400"/>
              <a:t>L1 </a:t>
            </a:r>
            <a:r>
              <a:rPr lang="nl-NL" sz="1400" err="1"/>
              <a:t>Encryption</a:t>
            </a:r>
            <a:endParaRPr lang="nl-NL" sz="140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4FF7E2F-9C8E-D698-8699-01BF4B589C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Secure Connectivity - Datacenter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B6E3CC65-A00F-BB8D-06EE-F5905BC2B8E0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</a:blip>
          <a:stretch>
            <a:fillRect/>
          </a:stretch>
        </p:blipFill>
        <p:spPr>
          <a:xfrm>
            <a:off x="400594" y="2276939"/>
            <a:ext cx="4524103" cy="2540578"/>
          </a:xfrm>
          <a:prstGeom prst="rect">
            <a:avLst/>
          </a:prstGeom>
        </p:spPr>
      </p:pic>
      <p:pic>
        <p:nvPicPr>
          <p:cNvPr id="19" name="Afbeelding 18">
            <a:extLst>
              <a:ext uri="{FF2B5EF4-FFF2-40B4-BE49-F238E27FC236}">
                <a16:creationId xmlns:a16="http://schemas.microsoft.com/office/drawing/2014/main" id="{E14AD745-2B23-3351-92E1-1515A449B88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</a:blip>
          <a:stretch>
            <a:fillRect/>
          </a:stretch>
        </p:blipFill>
        <p:spPr>
          <a:xfrm>
            <a:off x="7267303" y="2276939"/>
            <a:ext cx="4524103" cy="2540578"/>
          </a:xfrm>
          <a:prstGeom prst="rect">
            <a:avLst/>
          </a:prstGeom>
        </p:spPr>
      </p:pic>
      <p:sp>
        <p:nvSpPr>
          <p:cNvPr id="21" name="Pijl: links/rechts 20">
            <a:extLst>
              <a:ext uri="{FF2B5EF4-FFF2-40B4-BE49-F238E27FC236}">
                <a16:creationId xmlns:a16="http://schemas.microsoft.com/office/drawing/2014/main" id="{0DE9B720-09E5-DBB1-FB0C-247FB3F8A689}"/>
              </a:ext>
            </a:extLst>
          </p:cNvPr>
          <p:cNvSpPr/>
          <p:nvPr/>
        </p:nvSpPr>
        <p:spPr>
          <a:xfrm>
            <a:off x="4924698" y="3319466"/>
            <a:ext cx="2342606" cy="433928"/>
          </a:xfrm>
          <a:prstGeom prst="left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6" name="Afbeelding 25">
            <a:extLst>
              <a:ext uri="{FF2B5EF4-FFF2-40B4-BE49-F238E27FC236}">
                <a16:creationId xmlns:a16="http://schemas.microsoft.com/office/drawing/2014/main" id="{DEFCEF56-EBF3-0CF9-1E16-D73E81F020D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4263" y="3044403"/>
            <a:ext cx="769194" cy="769194"/>
          </a:xfrm>
          <a:prstGeom prst="rect">
            <a:avLst/>
          </a:prstGeom>
        </p:spPr>
      </p:pic>
      <p:sp>
        <p:nvSpPr>
          <p:cNvPr id="32" name="Tijdelijke aanduiding voor inhoud 30">
            <a:extLst>
              <a:ext uri="{FF2B5EF4-FFF2-40B4-BE49-F238E27FC236}">
                <a16:creationId xmlns:a16="http://schemas.microsoft.com/office/drawing/2014/main" id="{B296F53B-1A12-8DAE-8371-139C8ABAD673}"/>
              </a:ext>
            </a:extLst>
          </p:cNvPr>
          <p:cNvSpPr txBox="1">
            <a:spLocks/>
          </p:cNvSpPr>
          <p:nvPr/>
        </p:nvSpPr>
        <p:spPr>
          <a:xfrm>
            <a:off x="5178665" y="2864895"/>
            <a:ext cx="1836089" cy="31703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nl-NL" sz="1400"/>
              <a:t>Data in Transit</a:t>
            </a:r>
          </a:p>
        </p:txBody>
      </p:sp>
      <p:pic>
        <p:nvPicPr>
          <p:cNvPr id="33" name="Afbeelding 32">
            <a:extLst>
              <a:ext uri="{FF2B5EF4-FFF2-40B4-BE49-F238E27FC236}">
                <a16:creationId xmlns:a16="http://schemas.microsoft.com/office/drawing/2014/main" id="{FA290241-CD2C-FE02-3D95-B258C6D06C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93549" y="2254220"/>
            <a:ext cx="769194" cy="769194"/>
          </a:xfrm>
          <a:prstGeom prst="rect">
            <a:avLst/>
          </a:prstGeom>
        </p:spPr>
      </p:pic>
      <p:pic>
        <p:nvPicPr>
          <p:cNvPr id="34" name="Afbeelding 33">
            <a:extLst>
              <a:ext uri="{FF2B5EF4-FFF2-40B4-BE49-F238E27FC236}">
                <a16:creationId xmlns:a16="http://schemas.microsoft.com/office/drawing/2014/main" id="{07FD2334-566A-6864-3E18-ED0371CB3C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7302" y="2254220"/>
            <a:ext cx="769194" cy="769194"/>
          </a:xfrm>
          <a:prstGeom prst="rect">
            <a:avLst/>
          </a:prstGeom>
        </p:spPr>
      </p:pic>
      <p:pic>
        <p:nvPicPr>
          <p:cNvPr id="36" name="Afbeelding 35">
            <a:extLst>
              <a:ext uri="{FF2B5EF4-FFF2-40B4-BE49-F238E27FC236}">
                <a16:creationId xmlns:a16="http://schemas.microsoft.com/office/drawing/2014/main" id="{B547DCCC-11BE-65E0-C8CF-5D08ECF79D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0536905">
            <a:off x="3712996" y="5032671"/>
            <a:ext cx="4950399" cy="484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301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uiExpand="1" build="p"/>
      <p:bldP spid="21" grpId="0" animBg="1"/>
      <p:bldP spid="3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0706FCFC-0475-236C-8BF9-29D9A54A0D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4659" y="2113900"/>
            <a:ext cx="2630199" cy="2630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4FF7E2F-9C8E-D698-8699-01BF4B589C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Secure Connectivity - Datacenter</a:t>
            </a:r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1D4FB694-3A5A-6099-28F4-40F4E48E56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057" y="1282030"/>
            <a:ext cx="4435818" cy="2757760"/>
          </a:xfrm>
          <a:prstGeom prst="rect">
            <a:avLst/>
          </a:prstGeom>
          <a:noFill/>
        </p:spPr>
      </p:pic>
      <p:pic>
        <p:nvPicPr>
          <p:cNvPr id="1054" name="Afbeelding 1053">
            <a:extLst>
              <a:ext uri="{FF2B5EF4-FFF2-40B4-BE49-F238E27FC236}">
                <a16:creationId xmlns:a16="http://schemas.microsoft.com/office/drawing/2014/main" id="{BE66FE5F-63FD-343C-2B3C-05F6BA87CE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25917" y="3898528"/>
            <a:ext cx="5181601" cy="2537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33294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C77A14AE-F1D4-C12C-66E8-7A615B1D43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505200" y="1638375"/>
            <a:ext cx="5181600" cy="4351338"/>
          </a:xfrm>
        </p:spPr>
        <p:txBody>
          <a:bodyPr/>
          <a:lstStyle/>
          <a:p>
            <a:pPr marL="0" indent="0" algn="ctr">
              <a:buNone/>
            </a:pPr>
            <a:r>
              <a:rPr lang="nl-NL"/>
              <a:t>Conscia/</a:t>
            </a:r>
            <a:r>
              <a:rPr lang="nl-NL" err="1"/>
              <a:t>RedLogic</a:t>
            </a:r>
            <a:r>
              <a:rPr lang="nl-NL"/>
              <a:t> - </a:t>
            </a:r>
            <a:r>
              <a:rPr lang="nl-NL" err="1"/>
              <a:t>Circles</a:t>
            </a:r>
            <a:r>
              <a:rPr lang="nl-NL"/>
              <a:t> of Trust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4FF7E2F-9C8E-D698-8699-01BF4B589C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Secure Connectivity - Datacenter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BF7B398C-580D-873F-5B68-15304623CF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60424" y="2026725"/>
            <a:ext cx="4671152" cy="3574638"/>
          </a:xfrm>
          <a:prstGeom prst="rect">
            <a:avLst/>
          </a:prstGeom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EB6F9097-7CF6-CF2C-5405-2D298325C4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4659" y="2113900"/>
            <a:ext cx="2630199" cy="2630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9573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112E-17 0 L -0.32656 0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328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00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4FF7E2F-9C8E-D698-8699-01BF4B589C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Secure Connectivity – Het grotere plaatje</a:t>
            </a:r>
          </a:p>
        </p:txBody>
      </p:sp>
      <p:sp>
        <p:nvSpPr>
          <p:cNvPr id="58" name="Oval 82">
            <a:extLst>
              <a:ext uri="{FF2B5EF4-FFF2-40B4-BE49-F238E27FC236}">
                <a16:creationId xmlns:a16="http://schemas.microsoft.com/office/drawing/2014/main" id="{3B4BD4C0-C2B3-98BD-B6B5-91FB78D905DF}"/>
              </a:ext>
            </a:extLst>
          </p:cNvPr>
          <p:cNvSpPr/>
          <p:nvPr/>
        </p:nvSpPr>
        <p:spPr>
          <a:xfrm>
            <a:off x="8528458" y="5059210"/>
            <a:ext cx="1080000" cy="1080000"/>
          </a:xfrm>
          <a:prstGeom prst="ellipse">
            <a:avLst/>
          </a:prstGeom>
          <a:noFill/>
          <a:ln w="76200" cap="flat" cmpd="sng" algn="ctr">
            <a:solidFill>
              <a:srgbClr val="17669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lou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Servi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Provider</a:t>
            </a:r>
            <a:endParaRPr kumimoji="0" lang="nl-NL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59" name="Picture 4" descr="Conscia Nederland | LinkedIn">
            <a:extLst>
              <a:ext uri="{FF2B5EF4-FFF2-40B4-BE49-F238E27FC236}">
                <a16:creationId xmlns:a16="http://schemas.microsoft.com/office/drawing/2014/main" id="{4E5F5209-F1AE-1D51-70DF-7889A8BF07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9615" y="4776339"/>
            <a:ext cx="936000" cy="936000"/>
          </a:xfrm>
          <a:prstGeom prst="ellipse">
            <a:avLst/>
          </a:prstGeom>
          <a:solidFill>
            <a:srgbClr val="FFFFFF"/>
          </a:solidFill>
        </p:spPr>
      </p:pic>
      <p:sp>
        <p:nvSpPr>
          <p:cNvPr id="60" name="Oval 3">
            <a:extLst>
              <a:ext uri="{FF2B5EF4-FFF2-40B4-BE49-F238E27FC236}">
                <a16:creationId xmlns:a16="http://schemas.microsoft.com/office/drawing/2014/main" id="{A42E5209-BCA0-94E0-A3AB-89DD7BC60F7A}"/>
              </a:ext>
            </a:extLst>
          </p:cNvPr>
          <p:cNvSpPr/>
          <p:nvPr/>
        </p:nvSpPr>
        <p:spPr>
          <a:xfrm>
            <a:off x="9335718" y="1869421"/>
            <a:ext cx="1080000" cy="1080000"/>
          </a:xfrm>
          <a:prstGeom prst="ellipse">
            <a:avLst/>
          </a:prstGeom>
          <a:solidFill>
            <a:srgbClr val="FF9655">
              <a:lumMod val="20000"/>
              <a:lumOff val="80000"/>
            </a:srgbClr>
          </a:solidFill>
          <a:ln w="76200" cap="flat" cmpd="sng" algn="ctr">
            <a:solidFill>
              <a:srgbClr val="FF965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61" name="Oval 2">
            <a:extLst>
              <a:ext uri="{FF2B5EF4-FFF2-40B4-BE49-F238E27FC236}">
                <a16:creationId xmlns:a16="http://schemas.microsoft.com/office/drawing/2014/main" id="{F66A5588-3C3F-6B24-44B1-D711F918266C}"/>
              </a:ext>
            </a:extLst>
          </p:cNvPr>
          <p:cNvSpPr/>
          <p:nvPr/>
        </p:nvSpPr>
        <p:spPr>
          <a:xfrm>
            <a:off x="10356186" y="2436033"/>
            <a:ext cx="1800000" cy="1800000"/>
          </a:xfrm>
          <a:prstGeom prst="ellipse">
            <a:avLst/>
          </a:prstGeom>
          <a:solidFill>
            <a:srgbClr val="FF9655">
              <a:lumMod val="20000"/>
              <a:lumOff val="80000"/>
            </a:srgbClr>
          </a:solidFill>
          <a:ln w="76200" cap="flat" cmpd="sng" algn="ctr">
            <a:solidFill>
              <a:srgbClr val="FF965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62" name="Oval 21">
            <a:extLst>
              <a:ext uri="{FF2B5EF4-FFF2-40B4-BE49-F238E27FC236}">
                <a16:creationId xmlns:a16="http://schemas.microsoft.com/office/drawing/2014/main" id="{89D6637C-4A29-2EB2-2CD1-DC9DA6FD9231}"/>
              </a:ext>
            </a:extLst>
          </p:cNvPr>
          <p:cNvSpPr/>
          <p:nvPr/>
        </p:nvSpPr>
        <p:spPr>
          <a:xfrm>
            <a:off x="9894934" y="4510567"/>
            <a:ext cx="1434531" cy="1406807"/>
          </a:xfrm>
          <a:prstGeom prst="ellipse">
            <a:avLst/>
          </a:prstGeom>
          <a:solidFill>
            <a:srgbClr val="FF9655">
              <a:lumMod val="20000"/>
              <a:lumOff val="80000"/>
            </a:srgbClr>
          </a:solidFill>
          <a:ln w="76200" cap="flat" cmpd="sng" algn="ctr">
            <a:solidFill>
              <a:srgbClr val="FF965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63" name="Oval 60">
            <a:extLst>
              <a:ext uri="{FF2B5EF4-FFF2-40B4-BE49-F238E27FC236}">
                <a16:creationId xmlns:a16="http://schemas.microsoft.com/office/drawing/2014/main" id="{F292F074-F40B-6C68-E0A0-934A4384F6F5}"/>
              </a:ext>
            </a:extLst>
          </p:cNvPr>
          <p:cNvSpPr/>
          <p:nvPr/>
        </p:nvSpPr>
        <p:spPr>
          <a:xfrm>
            <a:off x="5253333" y="4776339"/>
            <a:ext cx="936000" cy="936000"/>
          </a:xfrm>
          <a:prstGeom prst="ellipse">
            <a:avLst/>
          </a:prstGeom>
          <a:solidFill>
            <a:srgbClr val="FF9655">
              <a:lumMod val="20000"/>
              <a:lumOff val="80000"/>
            </a:srgbClr>
          </a:solidFill>
          <a:ln w="38100" cap="flat" cmpd="sng" algn="ctr">
            <a:solidFill>
              <a:srgbClr val="FF965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Primair</a:t>
            </a:r>
            <a:endParaRPr kumimoji="0" lang="en-US" sz="10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Locatie</a:t>
            </a: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64" name="Oval 61">
            <a:extLst>
              <a:ext uri="{FF2B5EF4-FFF2-40B4-BE49-F238E27FC236}">
                <a16:creationId xmlns:a16="http://schemas.microsoft.com/office/drawing/2014/main" id="{1A91A463-2FE4-4503-D15F-5AAAEBD91D42}"/>
              </a:ext>
            </a:extLst>
          </p:cNvPr>
          <p:cNvSpPr/>
          <p:nvPr/>
        </p:nvSpPr>
        <p:spPr>
          <a:xfrm>
            <a:off x="6246682" y="4776339"/>
            <a:ext cx="936000" cy="936000"/>
          </a:xfrm>
          <a:prstGeom prst="ellipse">
            <a:avLst/>
          </a:prstGeom>
          <a:solidFill>
            <a:srgbClr val="FF9655">
              <a:lumMod val="20000"/>
              <a:lumOff val="80000"/>
            </a:srgbClr>
          </a:solidFill>
          <a:ln w="38100" cap="flat" cmpd="sng" algn="ctr">
            <a:solidFill>
              <a:srgbClr val="FF965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Secun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Locatie</a:t>
            </a: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65" name="Oval 63">
            <a:extLst>
              <a:ext uri="{FF2B5EF4-FFF2-40B4-BE49-F238E27FC236}">
                <a16:creationId xmlns:a16="http://schemas.microsoft.com/office/drawing/2014/main" id="{CEE89CC6-3B8B-75EA-DBFC-2759CE47475E}"/>
              </a:ext>
            </a:extLst>
          </p:cNvPr>
          <p:cNvSpPr/>
          <p:nvPr/>
        </p:nvSpPr>
        <p:spPr>
          <a:xfrm>
            <a:off x="4259605" y="4776339"/>
            <a:ext cx="936000" cy="936000"/>
          </a:xfrm>
          <a:prstGeom prst="ellipse">
            <a:avLst/>
          </a:prstGeom>
          <a:noFill/>
          <a:ln w="38100" cap="flat" cmpd="sng" algn="ctr">
            <a:solidFill>
              <a:srgbClr val="0269B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66" name="Oval 66">
            <a:extLst>
              <a:ext uri="{FF2B5EF4-FFF2-40B4-BE49-F238E27FC236}">
                <a16:creationId xmlns:a16="http://schemas.microsoft.com/office/drawing/2014/main" id="{E6982772-E358-4167-28C3-AE66F1050ADC}"/>
              </a:ext>
            </a:extLst>
          </p:cNvPr>
          <p:cNvSpPr/>
          <p:nvPr/>
        </p:nvSpPr>
        <p:spPr>
          <a:xfrm>
            <a:off x="7674297" y="2344062"/>
            <a:ext cx="3240000" cy="3240000"/>
          </a:xfrm>
          <a:prstGeom prst="ellipse">
            <a:avLst/>
          </a:prstGeom>
          <a:solidFill>
            <a:srgbClr val="FF9655">
              <a:alpha val="23000"/>
            </a:srgbClr>
          </a:solidFill>
          <a:ln w="38100" cap="flat" cmpd="sng" algn="ctr">
            <a:solidFill>
              <a:srgbClr val="FF9655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67" name="Rectangle 34">
            <a:extLst>
              <a:ext uri="{FF2B5EF4-FFF2-40B4-BE49-F238E27FC236}">
                <a16:creationId xmlns:a16="http://schemas.microsoft.com/office/drawing/2014/main" id="{542804FA-0286-AD3A-E564-9CAEBAA938D3}"/>
              </a:ext>
            </a:extLst>
          </p:cNvPr>
          <p:cNvSpPr/>
          <p:nvPr/>
        </p:nvSpPr>
        <p:spPr>
          <a:xfrm>
            <a:off x="282365" y="2554769"/>
            <a:ext cx="6739315" cy="2152487"/>
          </a:xfrm>
          <a:prstGeom prst="rect">
            <a:avLst/>
          </a:prstGeom>
          <a:solidFill>
            <a:srgbClr val="FF9655">
              <a:lumMod val="20000"/>
              <a:lumOff val="80000"/>
            </a:srgbClr>
          </a:solidFill>
          <a:ln w="12700" cap="flat" cmpd="sng" algn="ctr">
            <a:solidFill>
              <a:srgbClr val="616161"/>
            </a:solidFill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Zero Trust Security </a:t>
            </a:r>
            <a:r>
              <a:rPr kumimoji="0" lang="en-US" sz="1800" b="0" i="1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omein</a:t>
            </a:r>
            <a:endParaRPr kumimoji="0" lang="nl-NL" sz="1800" b="0" i="1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68" name="Oval 4">
            <a:extLst>
              <a:ext uri="{FF2B5EF4-FFF2-40B4-BE49-F238E27FC236}">
                <a16:creationId xmlns:a16="http://schemas.microsoft.com/office/drawing/2014/main" id="{37AE746B-7ABF-2811-35B8-FB413B0CF92F}"/>
              </a:ext>
            </a:extLst>
          </p:cNvPr>
          <p:cNvSpPr/>
          <p:nvPr/>
        </p:nvSpPr>
        <p:spPr>
          <a:xfrm>
            <a:off x="8007249" y="1846737"/>
            <a:ext cx="1080000" cy="1080000"/>
          </a:xfrm>
          <a:prstGeom prst="ellipse">
            <a:avLst/>
          </a:prstGeom>
          <a:noFill/>
          <a:ln w="76200" cap="flat" cmpd="sng" algn="ctr">
            <a:solidFill>
              <a:srgbClr val="248DD8">
                <a:shade val="5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Publi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loud</a:t>
            </a:r>
            <a:endParaRPr kumimoji="0" lang="nl-NL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69" name="Picture 6">
            <a:extLst>
              <a:ext uri="{FF2B5EF4-FFF2-40B4-BE49-F238E27FC236}">
                <a16:creationId xmlns:a16="http://schemas.microsoft.com/office/drawing/2014/main" id="{4E74EC32-19DE-87F7-D9CE-9BC4209B8AB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24848" y="3242120"/>
            <a:ext cx="723790" cy="720000"/>
          </a:xfrm>
          <a:prstGeom prst="rect">
            <a:avLst/>
          </a:prstGeom>
        </p:spPr>
      </p:pic>
      <p:pic>
        <p:nvPicPr>
          <p:cNvPr id="70" name="Picture 7">
            <a:extLst>
              <a:ext uri="{FF2B5EF4-FFF2-40B4-BE49-F238E27FC236}">
                <a16:creationId xmlns:a16="http://schemas.microsoft.com/office/drawing/2014/main" id="{55A6A5D0-FAC4-7A05-86AF-F95CC947A0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0202" y="4056965"/>
            <a:ext cx="723790" cy="720000"/>
          </a:xfrm>
          <a:prstGeom prst="rect">
            <a:avLst/>
          </a:prstGeom>
        </p:spPr>
      </p:pic>
      <p:pic>
        <p:nvPicPr>
          <p:cNvPr id="71" name="Picture 8">
            <a:extLst>
              <a:ext uri="{FF2B5EF4-FFF2-40B4-BE49-F238E27FC236}">
                <a16:creationId xmlns:a16="http://schemas.microsoft.com/office/drawing/2014/main" id="{FBF591D5-8D31-1F67-7822-B1DA4B5E81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92819" y="4655439"/>
            <a:ext cx="723790" cy="720000"/>
          </a:xfrm>
          <a:prstGeom prst="rect">
            <a:avLst/>
          </a:prstGeom>
        </p:spPr>
      </p:pic>
      <p:cxnSp>
        <p:nvCxnSpPr>
          <p:cNvPr id="72" name="Straight Connector 10">
            <a:extLst>
              <a:ext uri="{FF2B5EF4-FFF2-40B4-BE49-F238E27FC236}">
                <a16:creationId xmlns:a16="http://schemas.microsoft.com/office/drawing/2014/main" id="{74466ED4-D053-1B47-E3BA-F4E8518C47AC}"/>
              </a:ext>
            </a:extLst>
          </p:cNvPr>
          <p:cNvCxnSpPr/>
          <p:nvPr/>
        </p:nvCxnSpPr>
        <p:spPr>
          <a:xfrm flipH="1">
            <a:off x="9488773" y="2926737"/>
            <a:ext cx="138476" cy="445771"/>
          </a:xfrm>
          <a:prstGeom prst="line">
            <a:avLst/>
          </a:prstGeom>
          <a:noFill/>
          <a:ln w="38100" cap="flat" cmpd="sng" algn="ctr">
            <a:solidFill>
              <a:srgbClr val="595959"/>
            </a:solidFill>
            <a:prstDash val="solid"/>
            <a:miter lim="800000"/>
          </a:ln>
          <a:effectLst/>
        </p:spPr>
      </p:cxnSp>
      <p:cxnSp>
        <p:nvCxnSpPr>
          <p:cNvPr id="73" name="Straight Connector 11">
            <a:extLst>
              <a:ext uri="{FF2B5EF4-FFF2-40B4-BE49-F238E27FC236}">
                <a16:creationId xmlns:a16="http://schemas.microsoft.com/office/drawing/2014/main" id="{E71FFB92-CC0D-7CD4-6E7C-518E942D22B4}"/>
              </a:ext>
            </a:extLst>
          </p:cNvPr>
          <p:cNvCxnSpPr/>
          <p:nvPr/>
        </p:nvCxnSpPr>
        <p:spPr>
          <a:xfrm flipH="1">
            <a:off x="9816186" y="3600846"/>
            <a:ext cx="594470" cy="112885"/>
          </a:xfrm>
          <a:prstGeom prst="line">
            <a:avLst/>
          </a:prstGeom>
          <a:noFill/>
          <a:ln w="38100" cap="flat" cmpd="sng" algn="ctr">
            <a:solidFill>
              <a:srgbClr val="595959"/>
            </a:solidFill>
            <a:prstDash val="solid"/>
            <a:miter lim="800000"/>
          </a:ln>
          <a:effectLst/>
        </p:spPr>
      </p:cxnSp>
      <p:cxnSp>
        <p:nvCxnSpPr>
          <p:cNvPr id="74" name="Straight Connector 12">
            <a:extLst>
              <a:ext uri="{FF2B5EF4-FFF2-40B4-BE49-F238E27FC236}">
                <a16:creationId xmlns:a16="http://schemas.microsoft.com/office/drawing/2014/main" id="{72AD1BEB-2150-2AD5-0B5C-769290AF586C}"/>
              </a:ext>
            </a:extLst>
          </p:cNvPr>
          <p:cNvCxnSpPr/>
          <p:nvPr/>
        </p:nvCxnSpPr>
        <p:spPr>
          <a:xfrm>
            <a:off x="8781732" y="2926737"/>
            <a:ext cx="228868" cy="497540"/>
          </a:xfrm>
          <a:prstGeom prst="line">
            <a:avLst/>
          </a:prstGeom>
          <a:noFill/>
          <a:ln w="38100" cap="flat" cmpd="sng" algn="ctr">
            <a:solidFill>
              <a:srgbClr val="595959"/>
            </a:solidFill>
            <a:prstDash val="solid"/>
            <a:miter lim="800000"/>
          </a:ln>
          <a:effectLst/>
        </p:spPr>
      </p:cxnSp>
      <p:cxnSp>
        <p:nvCxnSpPr>
          <p:cNvPr id="75" name="Straight Connector 13">
            <a:extLst>
              <a:ext uri="{FF2B5EF4-FFF2-40B4-BE49-F238E27FC236}">
                <a16:creationId xmlns:a16="http://schemas.microsoft.com/office/drawing/2014/main" id="{310168C1-8044-1C53-AA90-84F260B59B30}"/>
              </a:ext>
            </a:extLst>
          </p:cNvPr>
          <p:cNvCxnSpPr>
            <a:cxnSpLocks/>
            <a:stCxn id="69" idx="3"/>
          </p:cNvCxnSpPr>
          <p:nvPr/>
        </p:nvCxnSpPr>
        <p:spPr>
          <a:xfrm>
            <a:off x="7948638" y="3602120"/>
            <a:ext cx="728937" cy="168708"/>
          </a:xfrm>
          <a:prstGeom prst="line">
            <a:avLst/>
          </a:prstGeom>
          <a:noFill/>
          <a:ln w="6350" cap="flat" cmpd="sng" algn="ctr">
            <a:solidFill>
              <a:srgbClr val="248DD8"/>
            </a:solidFill>
            <a:prstDash val="solid"/>
            <a:miter lim="800000"/>
          </a:ln>
          <a:effectLst/>
        </p:spPr>
      </p:cxnSp>
      <p:cxnSp>
        <p:nvCxnSpPr>
          <p:cNvPr id="76" name="Straight Connector 14">
            <a:extLst>
              <a:ext uri="{FF2B5EF4-FFF2-40B4-BE49-F238E27FC236}">
                <a16:creationId xmlns:a16="http://schemas.microsoft.com/office/drawing/2014/main" id="{80C0EE89-A435-F5CE-3F6B-0B9530BAA8E3}"/>
              </a:ext>
            </a:extLst>
          </p:cNvPr>
          <p:cNvCxnSpPr>
            <a:cxnSpLocks/>
          </p:cNvCxnSpPr>
          <p:nvPr/>
        </p:nvCxnSpPr>
        <p:spPr>
          <a:xfrm flipV="1">
            <a:off x="7716988" y="4104140"/>
            <a:ext cx="1019198" cy="199076"/>
          </a:xfrm>
          <a:prstGeom prst="line">
            <a:avLst/>
          </a:prstGeom>
          <a:noFill/>
          <a:ln w="6350" cap="flat" cmpd="sng" algn="ctr">
            <a:solidFill>
              <a:srgbClr val="248DD8"/>
            </a:solidFill>
            <a:prstDash val="solid"/>
            <a:miter lim="800000"/>
          </a:ln>
          <a:effectLst/>
        </p:spPr>
      </p:cxnSp>
      <p:cxnSp>
        <p:nvCxnSpPr>
          <p:cNvPr id="77" name="Straight Connector 15">
            <a:extLst>
              <a:ext uri="{FF2B5EF4-FFF2-40B4-BE49-F238E27FC236}">
                <a16:creationId xmlns:a16="http://schemas.microsoft.com/office/drawing/2014/main" id="{DB009709-A3B2-73D4-ACFB-AC30E5BDC3CD}"/>
              </a:ext>
            </a:extLst>
          </p:cNvPr>
          <p:cNvCxnSpPr>
            <a:cxnSpLocks/>
          </p:cNvCxnSpPr>
          <p:nvPr/>
        </p:nvCxnSpPr>
        <p:spPr>
          <a:xfrm flipH="1">
            <a:off x="8272592" y="4218913"/>
            <a:ext cx="509140" cy="497676"/>
          </a:xfrm>
          <a:prstGeom prst="line">
            <a:avLst/>
          </a:prstGeom>
          <a:noFill/>
          <a:ln w="6350" cap="flat" cmpd="sng" algn="ctr">
            <a:solidFill>
              <a:srgbClr val="248DD8"/>
            </a:solidFill>
            <a:prstDash val="solid"/>
            <a:miter lim="800000"/>
          </a:ln>
          <a:effectLst/>
        </p:spPr>
      </p:cxnSp>
      <p:cxnSp>
        <p:nvCxnSpPr>
          <p:cNvPr id="78" name="Straight Connector 16">
            <a:extLst>
              <a:ext uri="{FF2B5EF4-FFF2-40B4-BE49-F238E27FC236}">
                <a16:creationId xmlns:a16="http://schemas.microsoft.com/office/drawing/2014/main" id="{40B1AC14-2476-1BA2-C8E0-1200EEA2A6DE}"/>
              </a:ext>
            </a:extLst>
          </p:cNvPr>
          <p:cNvCxnSpPr>
            <a:cxnSpLocks/>
          </p:cNvCxnSpPr>
          <p:nvPr/>
        </p:nvCxnSpPr>
        <p:spPr>
          <a:xfrm flipH="1">
            <a:off x="9087249" y="4412441"/>
            <a:ext cx="72070" cy="691492"/>
          </a:xfrm>
          <a:prstGeom prst="line">
            <a:avLst/>
          </a:prstGeom>
          <a:noFill/>
          <a:ln w="38100" cap="flat" cmpd="sng" algn="ctr">
            <a:solidFill>
              <a:srgbClr val="595959"/>
            </a:solidFill>
            <a:prstDash val="solid"/>
            <a:miter lim="800000"/>
          </a:ln>
          <a:effectLst/>
        </p:spPr>
      </p:cxnSp>
      <p:sp>
        <p:nvSpPr>
          <p:cNvPr id="79" name="TextBox 17">
            <a:extLst>
              <a:ext uri="{FF2B5EF4-FFF2-40B4-BE49-F238E27FC236}">
                <a16:creationId xmlns:a16="http://schemas.microsoft.com/office/drawing/2014/main" id="{A50B3069-2921-EDE2-E769-C9B7666F09C8}"/>
              </a:ext>
            </a:extLst>
          </p:cNvPr>
          <p:cNvSpPr txBox="1"/>
          <p:nvPr/>
        </p:nvSpPr>
        <p:spPr>
          <a:xfrm>
            <a:off x="10598193" y="3269721"/>
            <a:ext cx="13131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Primair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locatie</a:t>
            </a:r>
            <a:endParaRPr kumimoji="0" lang="nl-N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80" name="TextBox 18">
            <a:extLst>
              <a:ext uri="{FF2B5EF4-FFF2-40B4-BE49-F238E27FC236}">
                <a16:creationId xmlns:a16="http://schemas.microsoft.com/office/drawing/2014/main" id="{81154C45-9305-70F3-67D3-0C9F19D30924}"/>
              </a:ext>
            </a:extLst>
          </p:cNvPr>
          <p:cNvSpPr txBox="1"/>
          <p:nvPr/>
        </p:nvSpPr>
        <p:spPr>
          <a:xfrm>
            <a:off x="9350743" y="2452360"/>
            <a:ext cx="10650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olocatie</a:t>
            </a:r>
            <a:endParaRPr kumimoji="0" lang="nl-NL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81" name="TextBox 22">
            <a:extLst>
              <a:ext uri="{FF2B5EF4-FFF2-40B4-BE49-F238E27FC236}">
                <a16:creationId xmlns:a16="http://schemas.microsoft.com/office/drawing/2014/main" id="{E013139A-95E1-0918-A1D3-9521F0BF00DA}"/>
              </a:ext>
            </a:extLst>
          </p:cNvPr>
          <p:cNvSpPr txBox="1"/>
          <p:nvPr/>
        </p:nvSpPr>
        <p:spPr>
          <a:xfrm>
            <a:off x="10029344" y="5256252"/>
            <a:ext cx="11972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Secundair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locatie</a:t>
            </a:r>
            <a:endParaRPr kumimoji="0" lang="nl-NL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cxnSp>
        <p:nvCxnSpPr>
          <p:cNvPr id="82" name="Straight Connector 24">
            <a:extLst>
              <a:ext uri="{FF2B5EF4-FFF2-40B4-BE49-F238E27FC236}">
                <a16:creationId xmlns:a16="http://schemas.microsoft.com/office/drawing/2014/main" id="{5AB59CD2-C87A-004F-F5E5-28F635C14105}"/>
              </a:ext>
            </a:extLst>
          </p:cNvPr>
          <p:cNvCxnSpPr>
            <a:cxnSpLocks/>
            <a:endCxn id="62" idx="1"/>
          </p:cNvCxnSpPr>
          <p:nvPr/>
        </p:nvCxnSpPr>
        <p:spPr>
          <a:xfrm>
            <a:off x="9686866" y="4334047"/>
            <a:ext cx="418150" cy="382542"/>
          </a:xfrm>
          <a:prstGeom prst="line">
            <a:avLst/>
          </a:prstGeom>
          <a:noFill/>
          <a:ln w="38100" cap="flat" cmpd="sng" algn="ctr">
            <a:solidFill>
              <a:srgbClr val="595959"/>
            </a:solidFill>
            <a:prstDash val="solid"/>
            <a:miter lim="800000"/>
          </a:ln>
          <a:effectLst/>
        </p:spPr>
      </p:cxnSp>
      <p:sp>
        <p:nvSpPr>
          <p:cNvPr id="83" name="Rectangle: Rounded Corners 31">
            <a:extLst>
              <a:ext uri="{FF2B5EF4-FFF2-40B4-BE49-F238E27FC236}">
                <a16:creationId xmlns:a16="http://schemas.microsoft.com/office/drawing/2014/main" id="{CCB77727-16F4-D527-A2A2-D4D724E4E336}"/>
              </a:ext>
            </a:extLst>
          </p:cNvPr>
          <p:cNvSpPr/>
          <p:nvPr/>
        </p:nvSpPr>
        <p:spPr>
          <a:xfrm>
            <a:off x="434831" y="3520160"/>
            <a:ext cx="6399123" cy="410624"/>
          </a:xfrm>
          <a:prstGeom prst="roundRect">
            <a:avLst/>
          </a:prstGeom>
          <a:solidFill>
            <a:srgbClr val="0332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Endpoint / Cloud Security</a:t>
            </a:r>
            <a:endParaRPr kumimoji="0" lang="nl-NL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84" name="Rectangle: Rounded Corners 32">
            <a:extLst>
              <a:ext uri="{FF2B5EF4-FFF2-40B4-BE49-F238E27FC236}">
                <a16:creationId xmlns:a16="http://schemas.microsoft.com/office/drawing/2014/main" id="{5CB2E9BF-66FE-31B8-A315-1E0F47D31F4A}"/>
              </a:ext>
            </a:extLst>
          </p:cNvPr>
          <p:cNvSpPr/>
          <p:nvPr/>
        </p:nvSpPr>
        <p:spPr>
          <a:xfrm>
            <a:off x="434831" y="3052967"/>
            <a:ext cx="3210716" cy="410624"/>
          </a:xfrm>
          <a:prstGeom prst="roundRect">
            <a:avLst/>
          </a:prstGeom>
          <a:solidFill>
            <a:srgbClr val="2FC0B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Identity Security</a:t>
            </a:r>
            <a:endParaRPr kumimoji="0" lang="nl-NL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85" name="Picture 42">
            <a:extLst>
              <a:ext uri="{FF2B5EF4-FFF2-40B4-BE49-F238E27FC236}">
                <a16:creationId xmlns:a16="http://schemas.microsoft.com/office/drawing/2014/main" id="{BC8D8976-D875-3BEC-FA4F-3D648A9A5A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95644" y="2572433"/>
            <a:ext cx="556748" cy="719571"/>
          </a:xfrm>
          <a:prstGeom prst="rect">
            <a:avLst/>
          </a:prstGeom>
        </p:spPr>
      </p:pic>
      <p:sp>
        <p:nvSpPr>
          <p:cNvPr id="86" name="Rectangle: Rounded Corners 30">
            <a:extLst>
              <a:ext uri="{FF2B5EF4-FFF2-40B4-BE49-F238E27FC236}">
                <a16:creationId xmlns:a16="http://schemas.microsoft.com/office/drawing/2014/main" id="{166A7DD5-0212-D46B-D271-E6C0903A9CD1}"/>
              </a:ext>
            </a:extLst>
          </p:cNvPr>
          <p:cNvSpPr/>
          <p:nvPr/>
        </p:nvSpPr>
        <p:spPr>
          <a:xfrm>
            <a:off x="440331" y="3997603"/>
            <a:ext cx="6399124" cy="653971"/>
          </a:xfrm>
          <a:prstGeom prst="roundRect">
            <a:avLst/>
          </a:prstGeom>
          <a:solidFill>
            <a:srgbClr val="248DD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Overlay Secure Network</a:t>
            </a:r>
            <a:endParaRPr kumimoji="0" lang="nl-NL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87" name="Rectangle: Rounded Corners 19">
            <a:extLst>
              <a:ext uri="{FF2B5EF4-FFF2-40B4-BE49-F238E27FC236}">
                <a16:creationId xmlns:a16="http://schemas.microsoft.com/office/drawing/2014/main" id="{12478907-D8E7-2A77-46E2-724546D9A149}"/>
              </a:ext>
            </a:extLst>
          </p:cNvPr>
          <p:cNvSpPr/>
          <p:nvPr/>
        </p:nvSpPr>
        <p:spPr>
          <a:xfrm>
            <a:off x="2387500" y="4371463"/>
            <a:ext cx="4370362" cy="195449"/>
          </a:xfrm>
          <a:prstGeom prst="roundRect">
            <a:avLst/>
          </a:prstGeom>
          <a:solidFill>
            <a:srgbClr val="000000">
              <a:lumMod val="65000"/>
              <a:lumOff val="3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Data fabric</a:t>
            </a:r>
            <a:endParaRPr kumimoji="0" lang="nl-NL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88" name="Rectangle: Rounded Corners 23">
            <a:extLst>
              <a:ext uri="{FF2B5EF4-FFF2-40B4-BE49-F238E27FC236}">
                <a16:creationId xmlns:a16="http://schemas.microsoft.com/office/drawing/2014/main" id="{5A51485B-1A22-5A59-7BC6-EADE9EBB287E}"/>
              </a:ext>
            </a:extLst>
          </p:cNvPr>
          <p:cNvSpPr/>
          <p:nvPr/>
        </p:nvSpPr>
        <p:spPr>
          <a:xfrm>
            <a:off x="3722196" y="3052008"/>
            <a:ext cx="3111759" cy="410624"/>
          </a:xfrm>
          <a:prstGeom prst="roundRect">
            <a:avLst/>
          </a:prstGeom>
          <a:solidFill>
            <a:srgbClr val="2FC0B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Application Security</a:t>
            </a:r>
            <a:endParaRPr kumimoji="0" lang="nl-NL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89" name="Oval 27">
            <a:extLst>
              <a:ext uri="{FF2B5EF4-FFF2-40B4-BE49-F238E27FC236}">
                <a16:creationId xmlns:a16="http://schemas.microsoft.com/office/drawing/2014/main" id="{613C0E92-717E-970B-4303-BF9639AB0937}"/>
              </a:ext>
            </a:extLst>
          </p:cNvPr>
          <p:cNvSpPr/>
          <p:nvPr/>
        </p:nvSpPr>
        <p:spPr>
          <a:xfrm>
            <a:off x="7972060" y="2623192"/>
            <a:ext cx="2628000" cy="2628000"/>
          </a:xfrm>
          <a:prstGeom prst="ellipse">
            <a:avLst/>
          </a:prstGeom>
          <a:noFill/>
          <a:ln w="38100" cap="flat" cmpd="sng" algn="ctr">
            <a:solidFill>
              <a:srgbClr val="248DD8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90" name="Oval 51">
            <a:extLst>
              <a:ext uri="{FF2B5EF4-FFF2-40B4-BE49-F238E27FC236}">
                <a16:creationId xmlns:a16="http://schemas.microsoft.com/office/drawing/2014/main" id="{86E962F5-BE9A-75BA-73A9-8E986174635C}"/>
              </a:ext>
            </a:extLst>
          </p:cNvPr>
          <p:cNvSpPr/>
          <p:nvPr/>
        </p:nvSpPr>
        <p:spPr>
          <a:xfrm>
            <a:off x="7858567" y="2496344"/>
            <a:ext cx="2880000" cy="2880000"/>
          </a:xfrm>
          <a:prstGeom prst="ellipse">
            <a:avLst/>
          </a:prstGeom>
          <a:noFill/>
          <a:ln w="38100" cap="flat" cmpd="sng" algn="ctr">
            <a:solidFill>
              <a:srgbClr val="033258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91" name="Oval 52">
            <a:extLst>
              <a:ext uri="{FF2B5EF4-FFF2-40B4-BE49-F238E27FC236}">
                <a16:creationId xmlns:a16="http://schemas.microsoft.com/office/drawing/2014/main" id="{4D681694-6324-24E1-0E94-194650646893}"/>
              </a:ext>
            </a:extLst>
          </p:cNvPr>
          <p:cNvSpPr/>
          <p:nvPr/>
        </p:nvSpPr>
        <p:spPr>
          <a:xfrm>
            <a:off x="7761437" y="2447057"/>
            <a:ext cx="3060000" cy="3060000"/>
          </a:xfrm>
          <a:prstGeom prst="ellipse">
            <a:avLst/>
          </a:prstGeom>
          <a:noFill/>
          <a:ln w="38100" cap="flat" cmpd="sng" algn="ctr">
            <a:solidFill>
              <a:srgbClr val="2FC0B2"/>
            </a:solidFill>
            <a:prstDash val="dash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92" name="Picture 43">
            <a:extLst>
              <a:ext uri="{FF2B5EF4-FFF2-40B4-BE49-F238E27FC236}">
                <a16:creationId xmlns:a16="http://schemas.microsoft.com/office/drawing/2014/main" id="{F71112B0-671C-0D7B-9418-F8A7BEAC1D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87356" y="4669994"/>
            <a:ext cx="449686" cy="581198"/>
          </a:xfrm>
          <a:prstGeom prst="rect">
            <a:avLst/>
          </a:prstGeom>
        </p:spPr>
      </p:pic>
      <p:pic>
        <p:nvPicPr>
          <p:cNvPr id="93" name="Picture 41">
            <a:extLst>
              <a:ext uri="{FF2B5EF4-FFF2-40B4-BE49-F238E27FC236}">
                <a16:creationId xmlns:a16="http://schemas.microsoft.com/office/drawing/2014/main" id="{3E55F1F8-BD27-DF12-E43C-8210D72FF9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05739" y="2106799"/>
            <a:ext cx="289455" cy="374107"/>
          </a:xfrm>
          <a:prstGeom prst="rect">
            <a:avLst/>
          </a:prstGeom>
        </p:spPr>
      </p:pic>
      <p:sp>
        <p:nvSpPr>
          <p:cNvPr id="94" name="Oval 55">
            <a:extLst>
              <a:ext uri="{FF2B5EF4-FFF2-40B4-BE49-F238E27FC236}">
                <a16:creationId xmlns:a16="http://schemas.microsoft.com/office/drawing/2014/main" id="{119FEB6E-BDB8-DA30-014C-EEA6F05ADA5B}"/>
              </a:ext>
            </a:extLst>
          </p:cNvPr>
          <p:cNvSpPr/>
          <p:nvPr/>
        </p:nvSpPr>
        <p:spPr>
          <a:xfrm>
            <a:off x="66582" y="4776339"/>
            <a:ext cx="723790" cy="723600"/>
          </a:xfrm>
          <a:prstGeom prst="ellipse">
            <a:avLst/>
          </a:prstGeom>
          <a:noFill/>
          <a:ln w="38100" cap="flat" cmpd="sng" algn="ctr">
            <a:solidFill>
              <a:srgbClr val="0269B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Thuis</a:t>
            </a: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95" name="Oval 56">
            <a:extLst>
              <a:ext uri="{FF2B5EF4-FFF2-40B4-BE49-F238E27FC236}">
                <a16:creationId xmlns:a16="http://schemas.microsoft.com/office/drawing/2014/main" id="{288D14BF-FA05-3A5A-7678-763B0E890713}"/>
              </a:ext>
            </a:extLst>
          </p:cNvPr>
          <p:cNvSpPr/>
          <p:nvPr/>
        </p:nvSpPr>
        <p:spPr>
          <a:xfrm>
            <a:off x="788596" y="4776339"/>
            <a:ext cx="723790" cy="723600"/>
          </a:xfrm>
          <a:prstGeom prst="ellipse">
            <a:avLst/>
          </a:prstGeom>
          <a:noFill/>
          <a:ln w="38100" cap="flat" cmpd="sng" algn="ctr">
            <a:solidFill>
              <a:srgbClr val="0269B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Thuis</a:t>
            </a: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96" name="Oval 57">
            <a:extLst>
              <a:ext uri="{FF2B5EF4-FFF2-40B4-BE49-F238E27FC236}">
                <a16:creationId xmlns:a16="http://schemas.microsoft.com/office/drawing/2014/main" id="{1CF41B77-1E08-400D-8BBD-460765E16368}"/>
              </a:ext>
            </a:extLst>
          </p:cNvPr>
          <p:cNvSpPr/>
          <p:nvPr/>
        </p:nvSpPr>
        <p:spPr>
          <a:xfrm>
            <a:off x="1543163" y="4776339"/>
            <a:ext cx="723790" cy="723600"/>
          </a:xfrm>
          <a:prstGeom prst="ellipse">
            <a:avLst/>
          </a:prstGeom>
          <a:noFill/>
          <a:ln w="38100" cap="flat" cmpd="sng" algn="ctr">
            <a:solidFill>
              <a:srgbClr val="0269B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Thuis</a:t>
            </a: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97" name="Oval 59">
            <a:extLst>
              <a:ext uri="{FF2B5EF4-FFF2-40B4-BE49-F238E27FC236}">
                <a16:creationId xmlns:a16="http://schemas.microsoft.com/office/drawing/2014/main" id="{CEE3B3C1-8726-7FEC-585C-A4C64BE6828E}"/>
              </a:ext>
            </a:extLst>
          </p:cNvPr>
          <p:cNvSpPr/>
          <p:nvPr/>
        </p:nvSpPr>
        <p:spPr>
          <a:xfrm>
            <a:off x="3290035" y="4776339"/>
            <a:ext cx="936000" cy="936000"/>
          </a:xfrm>
          <a:prstGeom prst="ellipse">
            <a:avLst/>
          </a:prstGeom>
          <a:noFill/>
          <a:ln w="38100" cap="flat" cmpd="sng" algn="ctr">
            <a:solidFill>
              <a:srgbClr val="0269B4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98" name="Rectangle: Rounded Corners 65">
            <a:extLst>
              <a:ext uri="{FF2B5EF4-FFF2-40B4-BE49-F238E27FC236}">
                <a16:creationId xmlns:a16="http://schemas.microsoft.com/office/drawing/2014/main" id="{2F238391-26EC-005A-EEC7-94218741206D}"/>
              </a:ext>
            </a:extLst>
          </p:cNvPr>
          <p:cNvSpPr/>
          <p:nvPr/>
        </p:nvSpPr>
        <p:spPr>
          <a:xfrm>
            <a:off x="229199" y="4616993"/>
            <a:ext cx="6840000" cy="172868"/>
          </a:xfrm>
          <a:prstGeom prst="roundRect">
            <a:avLst/>
          </a:prstGeom>
          <a:solidFill>
            <a:srgbClr val="3D495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loud Connect</a:t>
            </a:r>
            <a:endParaRPr kumimoji="0" lang="nl-NL" sz="1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sp>
        <p:nvSpPr>
          <p:cNvPr id="99" name="Oval 9">
            <a:extLst>
              <a:ext uri="{FF2B5EF4-FFF2-40B4-BE49-F238E27FC236}">
                <a16:creationId xmlns:a16="http://schemas.microsoft.com/office/drawing/2014/main" id="{0E1FB280-026C-9B8A-52B3-635848B01598}"/>
              </a:ext>
            </a:extLst>
          </p:cNvPr>
          <p:cNvSpPr/>
          <p:nvPr/>
        </p:nvSpPr>
        <p:spPr>
          <a:xfrm>
            <a:off x="8736186" y="3372508"/>
            <a:ext cx="1080000" cy="1080000"/>
          </a:xfrm>
          <a:prstGeom prst="ellipse">
            <a:avLst/>
          </a:prstGeom>
          <a:solidFill>
            <a:srgbClr val="3D4958"/>
          </a:solidFill>
          <a:ln w="76200" cap="flat" cmpd="sng" algn="ctr">
            <a:solidFill>
              <a:srgbClr val="3D4958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lou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onnect</a:t>
            </a:r>
            <a:endParaRPr kumimoji="0" lang="nl-NL" sz="10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100" name="Picture 2" descr="upload.wikimedia.org/wikipedia/commons/thumb/f/...">
            <a:extLst>
              <a:ext uri="{FF2B5EF4-FFF2-40B4-BE49-F238E27FC236}">
                <a16:creationId xmlns:a16="http://schemas.microsoft.com/office/drawing/2014/main" id="{EA2A1843-74EE-E6A0-4F31-29792942A6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0494" y="4776339"/>
            <a:ext cx="936000" cy="936000"/>
          </a:xfrm>
          <a:prstGeom prst="ellipse">
            <a:avLst/>
          </a:prstGeom>
          <a:noFill/>
          <a:ln w="38100">
            <a:solidFill>
              <a:srgbClr val="0269B4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8" descr="Home | Smartdc">
            <a:extLst>
              <a:ext uri="{FF2B5EF4-FFF2-40B4-BE49-F238E27FC236}">
                <a16:creationId xmlns:a16="http://schemas.microsoft.com/office/drawing/2014/main" id="{450F7FBE-DA03-8E11-B143-670B4BE2FD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1905" y="5254810"/>
            <a:ext cx="744828" cy="1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74">
            <a:extLst>
              <a:ext uri="{FF2B5EF4-FFF2-40B4-BE49-F238E27FC236}">
                <a16:creationId xmlns:a16="http://schemas.microsoft.com/office/drawing/2014/main" id="{2CC4D615-668A-B993-1EDB-EA4DD747B59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99278" y="4776339"/>
            <a:ext cx="239713" cy="309817"/>
          </a:xfrm>
          <a:prstGeom prst="rect">
            <a:avLst/>
          </a:prstGeom>
        </p:spPr>
      </p:pic>
      <p:pic>
        <p:nvPicPr>
          <p:cNvPr id="103" name="Picture 75">
            <a:extLst>
              <a:ext uri="{FF2B5EF4-FFF2-40B4-BE49-F238E27FC236}">
                <a16:creationId xmlns:a16="http://schemas.microsoft.com/office/drawing/2014/main" id="{122E3F89-27FF-21CC-E9DF-BAC8A1C63A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81739" y="4776339"/>
            <a:ext cx="239713" cy="309817"/>
          </a:xfrm>
          <a:prstGeom prst="rect">
            <a:avLst/>
          </a:prstGeom>
        </p:spPr>
      </p:pic>
      <p:pic>
        <p:nvPicPr>
          <p:cNvPr id="104" name="Picture 80">
            <a:extLst>
              <a:ext uri="{FF2B5EF4-FFF2-40B4-BE49-F238E27FC236}">
                <a16:creationId xmlns:a16="http://schemas.microsoft.com/office/drawing/2014/main" id="{D161DD1E-DEE4-7B68-D74A-6F83C507927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62545" y="4776339"/>
            <a:ext cx="542591" cy="560881"/>
          </a:xfrm>
          <a:prstGeom prst="rect">
            <a:avLst/>
          </a:prstGeom>
        </p:spPr>
      </p:pic>
      <p:pic>
        <p:nvPicPr>
          <p:cNvPr id="105" name="Picture 81">
            <a:extLst>
              <a:ext uri="{FF2B5EF4-FFF2-40B4-BE49-F238E27FC236}">
                <a16:creationId xmlns:a16="http://schemas.microsoft.com/office/drawing/2014/main" id="{E642EE27-236A-0497-7139-3F43E8369FC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44757" y="4776339"/>
            <a:ext cx="542591" cy="560881"/>
          </a:xfrm>
          <a:prstGeom prst="rect">
            <a:avLst/>
          </a:prstGeom>
        </p:spPr>
      </p:pic>
      <p:pic>
        <p:nvPicPr>
          <p:cNvPr id="106" name="Picture 83">
            <a:extLst>
              <a:ext uri="{FF2B5EF4-FFF2-40B4-BE49-F238E27FC236}">
                <a16:creationId xmlns:a16="http://schemas.microsoft.com/office/drawing/2014/main" id="{202E6D6C-FBA4-D859-3280-CA22F2E38E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02461" y="4960557"/>
            <a:ext cx="388125" cy="401208"/>
          </a:xfrm>
          <a:prstGeom prst="rect">
            <a:avLst/>
          </a:prstGeom>
        </p:spPr>
      </p:pic>
      <p:pic>
        <p:nvPicPr>
          <p:cNvPr id="107" name="Picture 84">
            <a:extLst>
              <a:ext uri="{FF2B5EF4-FFF2-40B4-BE49-F238E27FC236}">
                <a16:creationId xmlns:a16="http://schemas.microsoft.com/office/drawing/2014/main" id="{055F0652-7B27-A7FC-DCCB-CE0AC03ACC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12864" y="2583203"/>
            <a:ext cx="388125" cy="401208"/>
          </a:xfrm>
          <a:prstGeom prst="rect">
            <a:avLst/>
          </a:prstGeom>
        </p:spPr>
      </p:pic>
      <p:sp>
        <p:nvSpPr>
          <p:cNvPr id="108" name="Oval 72">
            <a:extLst>
              <a:ext uri="{FF2B5EF4-FFF2-40B4-BE49-F238E27FC236}">
                <a16:creationId xmlns:a16="http://schemas.microsoft.com/office/drawing/2014/main" id="{A9AEB9EE-4408-190A-1998-3DF85C09ACD3}"/>
              </a:ext>
            </a:extLst>
          </p:cNvPr>
          <p:cNvSpPr/>
          <p:nvPr/>
        </p:nvSpPr>
        <p:spPr>
          <a:xfrm>
            <a:off x="4372887" y="4776339"/>
            <a:ext cx="723888" cy="416153"/>
          </a:xfrm>
          <a:prstGeom prst="ellipse">
            <a:avLst/>
          </a:prstGeom>
          <a:solidFill>
            <a:srgbClr val="FF9655">
              <a:lumMod val="20000"/>
              <a:lumOff val="80000"/>
            </a:srgbClr>
          </a:solidFill>
          <a:ln w="38100" cap="flat" cmpd="sng" algn="ctr">
            <a:solidFill>
              <a:srgbClr val="FF965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  <p:pic>
        <p:nvPicPr>
          <p:cNvPr id="109" name="Picture 73">
            <a:extLst>
              <a:ext uri="{FF2B5EF4-FFF2-40B4-BE49-F238E27FC236}">
                <a16:creationId xmlns:a16="http://schemas.microsoft.com/office/drawing/2014/main" id="{53829430-06F2-2F94-DECB-AFD2DACC826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19623" y="4776339"/>
            <a:ext cx="239713" cy="309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418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9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2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65" grpId="0" animBg="1"/>
      <p:bldP spid="66" grpId="0" animBg="1"/>
      <p:bldP spid="67" grpId="0" animBg="1"/>
      <p:bldP spid="68" grpId="0" animBg="1"/>
      <p:bldP spid="79" grpId="0"/>
      <p:bldP spid="80" grpId="0"/>
      <p:bldP spid="81" grpId="0"/>
      <p:bldP spid="83" grpId="0" animBg="1"/>
      <p:bldP spid="84" grpId="0" animBg="1"/>
      <p:bldP spid="86" grpId="0" animBg="1"/>
      <p:bldP spid="87" grpId="0" animBg="1"/>
      <p:bldP spid="88" grpId="0" animBg="1"/>
      <p:bldP spid="89" grpId="0" animBg="1"/>
      <p:bldP spid="90" grpId="0" animBg="1"/>
      <p:bldP spid="91" grpId="0" animBg="1"/>
      <p:bldP spid="94" grpId="0" animBg="1"/>
      <p:bldP spid="95" grpId="0" animBg="1"/>
      <p:bldP spid="96" grpId="0" animBg="1"/>
      <p:bldP spid="97" grpId="0" animBg="1"/>
      <p:bldP spid="98" grpId="0" animBg="1"/>
      <p:bldP spid="99" grpId="0" animBg="1"/>
      <p:bldP spid="10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Fonte: Reprodução">
            <a:extLst>
              <a:ext uri="{FF2B5EF4-FFF2-40B4-BE49-F238E27FC236}">
                <a16:creationId xmlns:a16="http://schemas.microsoft.com/office/drawing/2014/main" id="{63B1B66A-DD60-D8A8-F9BC-A5EAAAEEB3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8055" y="4140715"/>
            <a:ext cx="3526660" cy="2352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Office Images - Free Download on Freepik">
            <a:extLst>
              <a:ext uri="{FF2B5EF4-FFF2-40B4-BE49-F238E27FC236}">
                <a16:creationId xmlns:a16="http://schemas.microsoft.com/office/drawing/2014/main" id="{100E6910-A67D-3645-DF94-A7B3973140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679" y="3244083"/>
            <a:ext cx="3864813" cy="25757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Zoom Background Home Office Images - Free Download on Freepik">
            <a:extLst>
              <a:ext uri="{FF2B5EF4-FFF2-40B4-BE49-F238E27FC236}">
                <a16:creationId xmlns:a16="http://schemas.microsoft.com/office/drawing/2014/main" id="{9C3D5AEB-BD95-5168-B47F-E068A72076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6340" y="677670"/>
            <a:ext cx="3221664" cy="21471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Factory Background Images - Free Download on Freepik">
            <a:extLst>
              <a:ext uri="{FF2B5EF4-FFF2-40B4-BE49-F238E27FC236}">
                <a16:creationId xmlns:a16="http://schemas.microsoft.com/office/drawing/2014/main" id="{CB99A7DD-EEA8-4026-C4F8-A9BCFF6C45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2233" y="62248"/>
            <a:ext cx="2960182" cy="1971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Datacenters kunnen 2 miljoen Nederlandse huizen verwarmen' | RTL Nieuws">
            <a:extLst>
              <a:ext uri="{FF2B5EF4-FFF2-40B4-BE49-F238E27FC236}">
                <a16:creationId xmlns:a16="http://schemas.microsoft.com/office/drawing/2014/main" id="{C3955F3C-740F-5478-2F37-9C44D59E5E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0874" y="1839338"/>
            <a:ext cx="3503803" cy="1970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147631B7-6171-5A83-167E-EC4B8F205D56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477897" y="4962097"/>
            <a:ext cx="3236205" cy="1715467"/>
          </a:xfrm>
          <a:prstGeom prst="rect">
            <a:avLst/>
          </a:prstGeom>
        </p:spPr>
      </p:pic>
      <p:sp>
        <p:nvSpPr>
          <p:cNvPr id="13" name="Oval 9">
            <a:extLst>
              <a:ext uri="{FF2B5EF4-FFF2-40B4-BE49-F238E27FC236}">
                <a16:creationId xmlns:a16="http://schemas.microsoft.com/office/drawing/2014/main" id="{59E8ABEB-F702-E253-AA4D-BB5519198711}"/>
              </a:ext>
            </a:extLst>
          </p:cNvPr>
          <p:cNvSpPr/>
          <p:nvPr/>
        </p:nvSpPr>
        <p:spPr>
          <a:xfrm>
            <a:off x="5024522" y="2313706"/>
            <a:ext cx="2230587" cy="2230587"/>
          </a:xfrm>
          <a:prstGeom prst="ellipse">
            <a:avLst/>
          </a:prstGeom>
          <a:solidFill>
            <a:srgbClr val="183154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lou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BM Plex Sans Light"/>
                <a:ea typeface="+mn-ea"/>
                <a:cs typeface="+mn-cs"/>
              </a:rPr>
              <a:t>Connect</a:t>
            </a:r>
            <a:endParaRPr kumimoji="0" lang="nl-NL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BM Plex Sans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38597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0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0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48B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7">
            <a:extLst>
              <a:ext uri="{FF2B5EF4-FFF2-40B4-BE49-F238E27FC236}">
                <a16:creationId xmlns:a16="http://schemas.microsoft.com/office/drawing/2014/main" id="{2C51B7F7-982C-CA3F-1918-5E79FD4B5D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03653"/>
            <a:ext cx="6379464" cy="2573147"/>
          </a:xfrm>
        </p:spPr>
        <p:txBody>
          <a:bodyPr>
            <a:noAutofit/>
          </a:bodyPr>
          <a:lstStyle/>
          <a:p>
            <a:r>
              <a:rPr lang="en-US" sz="6600" err="1">
                <a:solidFill>
                  <a:schemeClr val="bg1"/>
                </a:solidFill>
              </a:rPr>
              <a:t>Inzicht</a:t>
            </a:r>
            <a:endParaRPr lang="nl-NL" sz="6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3738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Afbeelding 9">
            <a:extLst>
              <a:ext uri="{FF2B5EF4-FFF2-40B4-BE49-F238E27FC236}">
                <a16:creationId xmlns:a16="http://schemas.microsoft.com/office/drawing/2014/main" id="{F9989AFB-D573-B06C-86BE-472D19BF8A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272" y="1283028"/>
            <a:ext cx="7912131" cy="5381942"/>
          </a:xfrm>
          <a:prstGeom prst="rect">
            <a:avLst/>
          </a:prstGeom>
        </p:spPr>
      </p:pic>
      <p:sp>
        <p:nvSpPr>
          <p:cNvPr id="13" name="Tijdelijke aanduiding voor inhoud 12">
            <a:extLst>
              <a:ext uri="{FF2B5EF4-FFF2-40B4-BE49-F238E27FC236}">
                <a16:creationId xmlns:a16="http://schemas.microsoft.com/office/drawing/2014/main" id="{C76CEB92-53C1-360C-0756-9E044CE068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6027" y="5188637"/>
            <a:ext cx="3722371" cy="47113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/>
              <a:t>Biggest obstacles networking teams must overcome to deliver on digital initiatives</a:t>
            </a:r>
            <a:endParaRPr lang="nl-NL" sz="200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7085ABF-3549-113E-E9FF-CEECC7350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17903"/>
          </a:xfrm>
        </p:spPr>
        <p:txBody>
          <a:bodyPr/>
          <a:lstStyle/>
          <a:p>
            <a:r>
              <a:rPr lang="nl-NL">
                <a:solidFill>
                  <a:srgbClr val="183154"/>
                </a:solidFill>
              </a:rPr>
              <a:t>Inzicht</a:t>
            </a:r>
          </a:p>
        </p:txBody>
      </p:sp>
      <p:pic>
        <p:nvPicPr>
          <p:cNvPr id="7" name="Picture 25">
            <a:extLst>
              <a:ext uri="{FF2B5EF4-FFF2-40B4-BE49-F238E27FC236}">
                <a16:creationId xmlns:a16="http://schemas.microsoft.com/office/drawing/2014/main" id="{A5068F44-077B-35B5-71D2-0363AD2029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1453" y="2687510"/>
            <a:ext cx="4059935" cy="2704957"/>
          </a:xfrm>
          <a:prstGeom prst="rect">
            <a:avLst/>
          </a:prstGeom>
        </p:spPr>
      </p:pic>
      <p:sp>
        <p:nvSpPr>
          <p:cNvPr id="15" name="Tijdelijke aanduiding voor inhoud 12">
            <a:extLst>
              <a:ext uri="{FF2B5EF4-FFF2-40B4-BE49-F238E27FC236}">
                <a16:creationId xmlns:a16="http://schemas.microsoft.com/office/drawing/2014/main" id="{AB13612A-022E-9E7C-9D6A-2B52270322C4}"/>
              </a:ext>
            </a:extLst>
          </p:cNvPr>
          <p:cNvSpPr txBox="1">
            <a:spLocks/>
          </p:cNvSpPr>
          <p:nvPr/>
        </p:nvSpPr>
        <p:spPr>
          <a:xfrm>
            <a:off x="4358857" y="6257309"/>
            <a:ext cx="6070851" cy="4711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i="1" err="1"/>
              <a:t>Bron</a:t>
            </a:r>
            <a:r>
              <a:rPr lang="en-US" sz="1100" i="1"/>
              <a:t>: 2023 Global Networking Trends Survey Results (Cisco)</a:t>
            </a:r>
            <a:endParaRPr lang="nl-NL" sz="1100" i="1"/>
          </a:p>
        </p:txBody>
      </p:sp>
    </p:spTree>
    <p:extLst>
      <p:ext uri="{BB962C8B-B14F-4D97-AF65-F5344CB8AC3E}">
        <p14:creationId xmlns:p14="http://schemas.microsoft.com/office/powerpoint/2010/main" val="26749945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7">
            <a:extLst>
              <a:ext uri="{FF2B5EF4-FFF2-40B4-BE49-F238E27FC236}">
                <a16:creationId xmlns:a16="http://schemas.microsoft.com/office/drawing/2014/main" id="{E51B649E-1CA9-2851-3927-E936AD1E7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7207710" cy="1325563"/>
          </a:xfrm>
        </p:spPr>
        <p:txBody>
          <a:bodyPr/>
          <a:lstStyle/>
          <a:p>
            <a:r>
              <a:rPr lang="en-US"/>
              <a:t>Trends</a:t>
            </a:r>
            <a:endParaRPr lang="nl-NL"/>
          </a:p>
        </p:txBody>
      </p:sp>
      <p:sp>
        <p:nvSpPr>
          <p:cNvPr id="7" name="Tijdelijke aanduiding voor inhoud 18">
            <a:extLst>
              <a:ext uri="{FF2B5EF4-FFF2-40B4-BE49-F238E27FC236}">
                <a16:creationId xmlns:a16="http://schemas.microsoft.com/office/drawing/2014/main" id="{E93F1C48-8AB4-051C-A23A-C9DF6329BD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99920"/>
            <a:ext cx="7677500" cy="2061680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/>
              <a:t>Secure Access Service </a:t>
            </a:r>
            <a:r>
              <a:rPr lang="nl-NL" sz="2000" err="1"/>
              <a:t>Edge</a:t>
            </a:r>
            <a:endParaRPr lang="nl-NL" sz="200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/>
              <a:t>Secure Connectiv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/>
              <a:t>Inzich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2000" err="1"/>
              <a:t>Sustainability</a:t>
            </a:r>
            <a:endParaRPr lang="nl-NL" sz="20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2400">
              <a:solidFill>
                <a:srgbClr val="048BEC"/>
              </a:solidFill>
            </a:endParaRPr>
          </a:p>
          <a:p>
            <a:endParaRPr lang="nl-NL" sz="2400">
              <a:solidFill>
                <a:srgbClr val="048BEC"/>
              </a:solidFill>
            </a:endParaRPr>
          </a:p>
        </p:txBody>
      </p:sp>
      <p:sp>
        <p:nvSpPr>
          <p:cNvPr id="8" name="Titel 10">
            <a:extLst>
              <a:ext uri="{FF2B5EF4-FFF2-40B4-BE49-F238E27FC236}">
                <a16:creationId xmlns:a16="http://schemas.microsoft.com/office/drawing/2014/main" id="{4BC13724-1D66-58AF-9A45-A88AAEC04B16}"/>
              </a:ext>
            </a:extLst>
          </p:cNvPr>
          <p:cNvSpPr txBox="1">
            <a:spLocks/>
          </p:cNvSpPr>
          <p:nvPr/>
        </p:nvSpPr>
        <p:spPr>
          <a:xfrm>
            <a:off x="838200" y="3708400"/>
            <a:ext cx="720771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rgbClr val="048BEC"/>
                </a:solidFill>
                <a:latin typeface="IBM Plex Sans" panose="020B0503050203000203" pitchFamily="34" charset="0"/>
                <a:ea typeface="+mj-ea"/>
                <a:cs typeface="+mj-cs"/>
              </a:defRPr>
            </a:lvl1pPr>
          </a:lstStyle>
          <a:p>
            <a:r>
              <a:rPr lang="nl-NL"/>
              <a:t>Spreker</a:t>
            </a:r>
          </a:p>
        </p:txBody>
      </p:sp>
      <p:sp>
        <p:nvSpPr>
          <p:cNvPr id="2" name="Tijdelijke aanduiding voor inhoud 17">
            <a:extLst>
              <a:ext uri="{FF2B5EF4-FFF2-40B4-BE49-F238E27FC236}">
                <a16:creationId xmlns:a16="http://schemas.microsoft.com/office/drawing/2014/main" id="{72E8373C-BC50-F917-5B09-5CBAE65323BE}"/>
              </a:ext>
            </a:extLst>
          </p:cNvPr>
          <p:cNvSpPr txBox="1">
            <a:spLocks/>
          </p:cNvSpPr>
          <p:nvPr/>
        </p:nvSpPr>
        <p:spPr>
          <a:xfrm>
            <a:off x="838200" y="4816475"/>
            <a:ext cx="3217278" cy="9536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/>
              <a:t>Rick van ‘t Spijker, Lead Architect</a:t>
            </a:r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7165C1B8-4181-C8CC-B31B-2144B8F8011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23024" r="23024"/>
          <a:stretch/>
        </p:blipFill>
        <p:spPr>
          <a:xfrm>
            <a:off x="3875336" y="4437056"/>
            <a:ext cx="1133437" cy="1400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74652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7">
            <a:extLst>
              <a:ext uri="{FF2B5EF4-FFF2-40B4-BE49-F238E27FC236}">
                <a16:creationId xmlns:a16="http://schemas.microsoft.com/office/drawing/2014/main" id="{06DC982E-8E76-2749-6CEB-543320D383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116" y="2076983"/>
            <a:ext cx="4934969" cy="4194459"/>
          </a:xfrm>
          <a:prstGeom prst="rect">
            <a:avLst/>
          </a:prstGeom>
        </p:spPr>
      </p:pic>
      <p:pic>
        <p:nvPicPr>
          <p:cNvPr id="4098" name="Picture 2" descr="End User Monitoring">
            <a:extLst>
              <a:ext uri="{FF2B5EF4-FFF2-40B4-BE49-F238E27FC236}">
                <a16:creationId xmlns:a16="http://schemas.microsoft.com/office/drawing/2014/main" id="{C9319A6B-3134-7D36-00AA-BBAB0083EB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437" y="2044373"/>
            <a:ext cx="3480295" cy="1957666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7">
            <a:extLst>
              <a:ext uri="{FF2B5EF4-FFF2-40B4-BE49-F238E27FC236}">
                <a16:creationId xmlns:a16="http://schemas.microsoft.com/office/drawing/2014/main" id="{5B1E9B60-50D0-FC56-ED1B-FB1D7C54249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793" y="2682130"/>
            <a:ext cx="3482140" cy="2269402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6" name="Picture 11">
            <a:extLst>
              <a:ext uri="{FF2B5EF4-FFF2-40B4-BE49-F238E27FC236}">
                <a16:creationId xmlns:a16="http://schemas.microsoft.com/office/drawing/2014/main" id="{93A23E0E-18D0-2D11-9691-F00CCB2AF9B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17" t="12597" r="13659" b="10263"/>
          <a:stretch/>
        </p:blipFill>
        <p:spPr>
          <a:xfrm>
            <a:off x="1716366" y="3385136"/>
            <a:ext cx="3505497" cy="2183300"/>
          </a:xfrm>
          <a:prstGeom prst="rect">
            <a:avLst/>
          </a:prstGeom>
          <a:ln>
            <a:solidFill>
              <a:schemeClr val="tx2"/>
            </a:solidFill>
          </a:ln>
        </p:spPr>
      </p:pic>
      <p:pic>
        <p:nvPicPr>
          <p:cNvPr id="2050" name="Picture 2" descr="Network and Application Synthetics">
            <a:extLst>
              <a:ext uri="{FF2B5EF4-FFF2-40B4-BE49-F238E27FC236}">
                <a16:creationId xmlns:a16="http://schemas.microsoft.com/office/drawing/2014/main" id="{A0B31315-80D1-81DA-B9F4-FA00B3A8B5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888" y="4088142"/>
            <a:ext cx="3881423" cy="218330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el 3">
            <a:extLst>
              <a:ext uri="{FF2B5EF4-FFF2-40B4-BE49-F238E27FC236}">
                <a16:creationId xmlns:a16="http://schemas.microsoft.com/office/drawing/2014/main" id="{895DD7F0-16E3-88F7-0A18-A7AB4DEE448D}"/>
              </a:ext>
            </a:extLst>
          </p:cNvPr>
          <p:cNvSpPr txBox="1">
            <a:spLocks/>
          </p:cNvSpPr>
          <p:nvPr/>
        </p:nvSpPr>
        <p:spPr>
          <a:xfrm>
            <a:off x="838200" y="365125"/>
            <a:ext cx="10515600" cy="9179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0" i="0" kern="1200">
                <a:solidFill>
                  <a:srgbClr val="048BEC"/>
                </a:solidFill>
                <a:latin typeface="IBM Plex Sans" panose="020B0503050203000203" pitchFamily="34" charset="0"/>
                <a:ea typeface="+mj-ea"/>
                <a:cs typeface="+mj-cs"/>
              </a:defRPr>
            </a:lvl1pPr>
          </a:lstStyle>
          <a:p>
            <a:r>
              <a:rPr lang="nl-NL">
                <a:solidFill>
                  <a:srgbClr val="183154"/>
                </a:solidFill>
              </a:rPr>
              <a:t>Inzicht</a:t>
            </a:r>
          </a:p>
        </p:txBody>
      </p:sp>
      <p:pic>
        <p:nvPicPr>
          <p:cNvPr id="3" name="Picture 25">
            <a:extLst>
              <a:ext uri="{FF2B5EF4-FFF2-40B4-BE49-F238E27FC236}">
                <a16:creationId xmlns:a16="http://schemas.microsoft.com/office/drawing/2014/main" id="{CBEE367F-CB67-1B60-0BE0-A2FEB252A1B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1453" y="2687510"/>
            <a:ext cx="4059935" cy="2704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32505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48B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7">
            <a:extLst>
              <a:ext uri="{FF2B5EF4-FFF2-40B4-BE49-F238E27FC236}">
                <a16:creationId xmlns:a16="http://schemas.microsoft.com/office/drawing/2014/main" id="{2C51B7F7-982C-CA3F-1918-5E79FD4B5D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03653"/>
            <a:ext cx="6379464" cy="2573147"/>
          </a:xfrm>
        </p:spPr>
        <p:txBody>
          <a:bodyPr>
            <a:noAutofit/>
          </a:bodyPr>
          <a:lstStyle/>
          <a:p>
            <a:r>
              <a:rPr lang="en-US" sz="6600">
                <a:solidFill>
                  <a:schemeClr val="bg1"/>
                </a:solidFill>
              </a:rPr>
              <a:t>Sustainability</a:t>
            </a:r>
            <a:endParaRPr lang="nl-NL" sz="66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35516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20D56336-74B5-D178-E327-E9F50E21A89A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3120" y="2619422"/>
            <a:ext cx="2784105" cy="2090911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57085ABF-3549-113E-E9FF-CEECC73504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err="1"/>
              <a:t>Sustainability</a:t>
            </a:r>
            <a:endParaRPr lang="nl-NL"/>
          </a:p>
        </p:txBody>
      </p:sp>
      <p:pic>
        <p:nvPicPr>
          <p:cNvPr id="4098" name="Picture 2" descr="white rolling armchair in front of table">
            <a:extLst>
              <a:ext uri="{FF2B5EF4-FFF2-40B4-BE49-F238E27FC236}">
                <a16:creationId xmlns:a16="http://schemas.microsoft.com/office/drawing/2014/main" id="{8E022899-DE16-A44C-A63B-27AE974A09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218" y="1517704"/>
            <a:ext cx="3668233" cy="2024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data center cooling640x360">
            <a:extLst>
              <a:ext uri="{FF2B5EF4-FFF2-40B4-BE49-F238E27FC236}">
                <a16:creationId xmlns:a16="http://schemas.microsoft.com/office/drawing/2014/main" id="{2C18ECF8-4FB7-1813-7EE5-9E8F75CAF9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218" y="4382017"/>
            <a:ext cx="4155559" cy="2337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digitalisering processen">
            <a:extLst>
              <a:ext uri="{FF2B5EF4-FFF2-40B4-BE49-F238E27FC236}">
                <a16:creationId xmlns:a16="http://schemas.microsoft.com/office/drawing/2014/main" id="{039E0712-1420-BA58-E642-3A39A6E5B8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5433" y="369904"/>
            <a:ext cx="3960425" cy="2160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Webex Meetings">
            <a:extLst>
              <a:ext uri="{FF2B5EF4-FFF2-40B4-BE49-F238E27FC236}">
                <a16:creationId xmlns:a16="http://schemas.microsoft.com/office/drawing/2014/main" id="{1EAA208F-D452-98B6-D3D4-63762FE6FB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9487" y="4084601"/>
            <a:ext cx="4281377" cy="2408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55792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: afgeronde hoeken 7">
            <a:extLst>
              <a:ext uri="{FF2B5EF4-FFF2-40B4-BE49-F238E27FC236}">
                <a16:creationId xmlns:a16="http://schemas.microsoft.com/office/drawing/2014/main" id="{A2B35B95-9A17-5769-7190-22C3F8293B59}"/>
              </a:ext>
            </a:extLst>
          </p:cNvPr>
          <p:cNvSpPr/>
          <p:nvPr/>
        </p:nvSpPr>
        <p:spPr>
          <a:xfrm>
            <a:off x="365292" y="1499616"/>
            <a:ext cx="7680618" cy="282625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Titel 17">
            <a:extLst>
              <a:ext uri="{FF2B5EF4-FFF2-40B4-BE49-F238E27FC236}">
                <a16:creationId xmlns:a16="http://schemas.microsoft.com/office/drawing/2014/main" id="{E51B649E-1CA9-2851-3927-E936AD1E73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Samenvattend</a:t>
            </a:r>
            <a:endParaRPr lang="nl-NL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C2CE73FB-A2EC-DF36-E3F0-F8D986B267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l-NL" sz="2400"/>
              <a:t>Stip aan de horizon met SASE</a:t>
            </a:r>
          </a:p>
          <a:p>
            <a:pPr marL="342900" indent="-342900">
              <a:buFont typeface="+mj-lt"/>
              <a:buAutoNum type="arabicPeriod"/>
            </a:pPr>
            <a:r>
              <a:rPr lang="nl-NL" sz="2400"/>
              <a:t>Samen optrekken in de Cloud Connect</a:t>
            </a:r>
          </a:p>
          <a:p>
            <a:pPr marL="342900" indent="-342900">
              <a:buFont typeface="+mj-lt"/>
              <a:buAutoNum type="arabicPeriod"/>
            </a:pPr>
            <a:r>
              <a:rPr lang="nl-NL" sz="2400"/>
              <a:t>Veranderende verhoudingen in de access</a:t>
            </a:r>
          </a:p>
          <a:p>
            <a:pPr marL="342900" indent="-342900">
              <a:buFont typeface="+mj-lt"/>
              <a:buAutoNum type="arabicPeriod"/>
            </a:pPr>
            <a:endParaRPr lang="nl-NL" sz="2400"/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53272A49-7375-1F8C-4A80-DB0A692114EB}"/>
              </a:ext>
            </a:extLst>
          </p:cNvPr>
          <p:cNvSpPr txBox="1"/>
          <p:nvPr/>
        </p:nvSpPr>
        <p:spPr>
          <a:xfrm>
            <a:off x="5143500" y="3740140"/>
            <a:ext cx="25513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400" err="1">
                <a:latin typeface="IBM Plex Sans" panose="020B0503050203000203" pitchFamily="34" charset="0"/>
              </a:rPr>
              <a:t>Sustainability</a:t>
            </a:r>
            <a:endParaRPr lang="nl-NL" sz="2400">
              <a:latin typeface="IBM Plex Sans" panose="020B050305020300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47388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74685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18B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7">
            <a:extLst>
              <a:ext uri="{FF2B5EF4-FFF2-40B4-BE49-F238E27FC236}">
                <a16:creationId xmlns:a16="http://schemas.microsoft.com/office/drawing/2014/main" id="{E51B649E-1CA9-2851-3927-E936AD1E73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03653"/>
            <a:ext cx="6379464" cy="2573147"/>
          </a:xfrm>
        </p:spPr>
        <p:txBody>
          <a:bodyPr>
            <a:noAutofit/>
          </a:bodyPr>
          <a:lstStyle/>
          <a:p>
            <a:r>
              <a:rPr lang="en-US" sz="6600">
                <a:solidFill>
                  <a:schemeClr val="bg1"/>
                </a:solidFill>
              </a:rPr>
              <a:t>Secure Access Service Edge</a:t>
            </a:r>
            <a:endParaRPr lang="nl-NL" sz="6600">
              <a:solidFill>
                <a:schemeClr val="bg1"/>
              </a:solidFill>
            </a:endParaRPr>
          </a:p>
        </p:txBody>
      </p:sp>
      <p:sp>
        <p:nvSpPr>
          <p:cNvPr id="7" name="Tijdelijke aanduiding voor inhoud 18">
            <a:extLst>
              <a:ext uri="{FF2B5EF4-FFF2-40B4-BE49-F238E27FC236}">
                <a16:creationId xmlns:a16="http://schemas.microsoft.com/office/drawing/2014/main" id="{E93F1C48-8AB4-051C-A23A-C9DF6329BD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nl-NL" sz="180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l-NL" sz="1800"/>
          </a:p>
        </p:txBody>
      </p:sp>
    </p:spTree>
    <p:extLst>
      <p:ext uri="{BB962C8B-B14F-4D97-AF65-F5344CB8AC3E}">
        <p14:creationId xmlns:p14="http://schemas.microsoft.com/office/powerpoint/2010/main" val="18348599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0E637D7B-6175-3B3F-0A7E-8121021FDE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132" y="804037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nl-NL"/>
              <a:t>Meerjarige </a:t>
            </a:r>
            <a:br>
              <a:rPr lang="nl-NL"/>
            </a:br>
            <a:r>
              <a:rPr lang="nl-NL"/>
              <a:t>ontwikkeling </a:t>
            </a:r>
            <a:br>
              <a:rPr lang="nl-NL"/>
            </a:br>
            <a:r>
              <a:rPr lang="nl-NL"/>
              <a:t>Netwerk-</a:t>
            </a:r>
            <a:br>
              <a:rPr lang="nl-NL"/>
            </a:br>
            <a:r>
              <a:rPr lang="nl-NL"/>
              <a:t>architectuur</a:t>
            </a:r>
          </a:p>
        </p:txBody>
      </p:sp>
      <p:sp>
        <p:nvSpPr>
          <p:cNvPr id="9" name="Tijdelijke aanduiding voor inhoud 8">
            <a:extLst>
              <a:ext uri="{FF2B5EF4-FFF2-40B4-BE49-F238E27FC236}">
                <a16:creationId xmlns:a16="http://schemas.microsoft.com/office/drawing/2014/main" id="{631E26E9-CB2D-EE2E-FA0A-C1E2D1532833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742251" y="4035996"/>
            <a:ext cx="3541713" cy="2652712"/>
          </a:xfrm>
        </p:spPr>
        <p:txBody>
          <a:bodyPr>
            <a:normAutofit/>
          </a:bodyPr>
          <a:lstStyle/>
          <a:p>
            <a:r>
              <a:rPr lang="nl-NL" sz="2000">
                <a:latin typeface="IBM Plex Sans" panose="020B0503050203000203" pitchFamily="34" charset="0"/>
              </a:rPr>
              <a:t>Locatie</a:t>
            </a:r>
          </a:p>
          <a:p>
            <a:r>
              <a:rPr lang="nl-NL" sz="2000">
                <a:latin typeface="IBM Plex Sans" panose="020B0503050203000203" pitchFamily="34" charset="0"/>
              </a:rPr>
              <a:t>Architectuur</a:t>
            </a:r>
          </a:p>
          <a:p>
            <a:r>
              <a:rPr lang="nl-NL" sz="2000">
                <a:latin typeface="IBM Plex Sans" panose="020B0503050203000203" pitchFamily="34" charset="0"/>
              </a:rPr>
              <a:t>Cloud diensten</a:t>
            </a:r>
          </a:p>
          <a:p>
            <a:r>
              <a:rPr lang="nl-NL" sz="2000">
                <a:latin typeface="IBM Plex Sans" panose="020B0503050203000203" pitchFamily="34" charset="0"/>
              </a:rPr>
              <a:t>Van </a:t>
            </a:r>
            <a:r>
              <a:rPr lang="nl-NL" sz="2000" err="1">
                <a:latin typeface="IBM Plex Sans" panose="020B0503050203000203" pitchFamily="34" charset="0"/>
              </a:rPr>
              <a:t>dedicated</a:t>
            </a:r>
            <a:r>
              <a:rPr lang="nl-NL" sz="2000">
                <a:latin typeface="IBM Plex Sans" panose="020B0503050203000203" pitchFamily="34" charset="0"/>
              </a:rPr>
              <a:t> WAN naar …</a:t>
            </a:r>
          </a:p>
          <a:p>
            <a:endParaRPr lang="nl-NL" sz="2000">
              <a:latin typeface="IBM Plex Sans" panose="020B0503050203000203" pitchFamily="34" charset="0"/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31E9BBA4-6799-32FF-530F-36462D2CD1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0210" y="568792"/>
            <a:ext cx="7743661" cy="5769787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4480B2E9-6DF5-236F-CD0A-63CE6225B3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3964" y="218663"/>
            <a:ext cx="7232904" cy="61067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1990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jl: gebogen 9">
            <a:extLst>
              <a:ext uri="{FF2B5EF4-FFF2-40B4-BE49-F238E27FC236}">
                <a16:creationId xmlns:a16="http://schemas.microsoft.com/office/drawing/2014/main" id="{407A99C9-F635-0197-7713-6C6D7BBC0DE2}"/>
              </a:ext>
            </a:extLst>
          </p:cNvPr>
          <p:cNvSpPr/>
          <p:nvPr/>
        </p:nvSpPr>
        <p:spPr>
          <a:xfrm rot="10800000" flipH="1">
            <a:off x="3232178" y="3025186"/>
            <a:ext cx="1843548" cy="1952164"/>
          </a:xfrm>
          <a:prstGeom prst="bentArrow">
            <a:avLst>
              <a:gd name="adj1" fmla="val 16200"/>
              <a:gd name="adj2" fmla="val 16600"/>
              <a:gd name="adj3" fmla="val 25000"/>
              <a:gd name="adj4" fmla="val 4375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58454979-DA72-BEEB-3959-87FC2585AE30}"/>
              </a:ext>
            </a:extLst>
          </p:cNvPr>
          <p:cNvSpPr/>
          <p:nvPr/>
        </p:nvSpPr>
        <p:spPr>
          <a:xfrm>
            <a:off x="2332577" y="2009521"/>
            <a:ext cx="2183610" cy="95410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nl-NL" sz="3600" b="0" cap="none" spc="0">
                <a:ln w="0"/>
                <a:solidFill>
                  <a:srgbClr val="183154"/>
                </a:solidFill>
              </a:rPr>
              <a:t>Connect IT</a:t>
            </a:r>
          </a:p>
          <a:p>
            <a:pPr algn="ctr"/>
            <a:r>
              <a:rPr lang="nl-NL" sz="2000">
                <a:ln w="0"/>
                <a:solidFill>
                  <a:srgbClr val="183154"/>
                </a:solidFill>
              </a:rPr>
              <a:t>Netwerk</a:t>
            </a:r>
            <a:endParaRPr lang="nl-NL" sz="3600" b="0" cap="none" spc="0">
              <a:ln w="0"/>
              <a:solidFill>
                <a:srgbClr val="183154"/>
              </a:solidFill>
            </a:endParaRP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43DCE348-6B1F-F943-4DC1-FF059BFBB016}"/>
              </a:ext>
            </a:extLst>
          </p:cNvPr>
          <p:cNvSpPr/>
          <p:nvPr/>
        </p:nvSpPr>
        <p:spPr>
          <a:xfrm>
            <a:off x="7624006" y="1974506"/>
            <a:ext cx="2046073" cy="954107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nl-NL" sz="3600" b="0" cap="none" spc="0">
                <a:ln w="0"/>
                <a:solidFill>
                  <a:srgbClr val="CC0000"/>
                </a:solidFill>
              </a:rPr>
              <a:t>Secure IT</a:t>
            </a:r>
          </a:p>
          <a:p>
            <a:pPr algn="ctr"/>
            <a:r>
              <a:rPr lang="nl-NL" sz="2000">
                <a:ln w="0"/>
                <a:solidFill>
                  <a:srgbClr val="CC0000"/>
                </a:solidFill>
              </a:rPr>
              <a:t>Netwerk Security</a:t>
            </a:r>
            <a:endParaRPr lang="nl-NL" sz="2000" b="0" cap="none" spc="0">
              <a:ln w="0"/>
              <a:solidFill>
                <a:srgbClr val="CC0000"/>
              </a:solidFill>
            </a:endParaRPr>
          </a:p>
        </p:txBody>
      </p:sp>
      <p:sp>
        <p:nvSpPr>
          <p:cNvPr id="14" name="Pijl: gebogen 13">
            <a:extLst>
              <a:ext uri="{FF2B5EF4-FFF2-40B4-BE49-F238E27FC236}">
                <a16:creationId xmlns:a16="http://schemas.microsoft.com/office/drawing/2014/main" id="{DB0A90CB-645F-04B5-7438-877F886DC654}"/>
              </a:ext>
            </a:extLst>
          </p:cNvPr>
          <p:cNvSpPr/>
          <p:nvPr/>
        </p:nvSpPr>
        <p:spPr>
          <a:xfrm rot="10800000">
            <a:off x="6975274" y="3025186"/>
            <a:ext cx="1843548" cy="1952164"/>
          </a:xfrm>
          <a:prstGeom prst="bentArrow">
            <a:avLst>
              <a:gd name="adj1" fmla="val 16200"/>
              <a:gd name="adj2" fmla="val 16600"/>
              <a:gd name="adj3" fmla="val 25000"/>
              <a:gd name="adj4" fmla="val 4375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15" name="Tekstvak 14">
            <a:extLst>
              <a:ext uri="{FF2B5EF4-FFF2-40B4-BE49-F238E27FC236}">
                <a16:creationId xmlns:a16="http://schemas.microsoft.com/office/drawing/2014/main" id="{2141B686-F691-EDE5-ED28-6C41A94642B1}"/>
              </a:ext>
            </a:extLst>
          </p:cNvPr>
          <p:cNvSpPr txBox="1"/>
          <p:nvPr/>
        </p:nvSpPr>
        <p:spPr>
          <a:xfrm>
            <a:off x="7692133" y="3185084"/>
            <a:ext cx="289805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>
                <a:solidFill>
                  <a:srgbClr val="183154"/>
                </a:solidFill>
                <a:latin typeface="IBM Plex Sans" panose="020B0503050203000203" pitchFamily="34" charset="0"/>
              </a:rPr>
              <a:t>ZTNA/VPN</a:t>
            </a:r>
          </a:p>
          <a:p>
            <a:r>
              <a:rPr lang="nl-NL">
                <a:solidFill>
                  <a:srgbClr val="183154"/>
                </a:solidFill>
                <a:latin typeface="IBM Plex Sans" panose="020B0503050203000203" pitchFamily="34" charset="0"/>
              </a:rPr>
              <a:t>Secure Web Gateway</a:t>
            </a:r>
          </a:p>
          <a:p>
            <a:r>
              <a:rPr lang="nl-NL">
                <a:solidFill>
                  <a:srgbClr val="183154"/>
                </a:solidFill>
                <a:latin typeface="IBM Plex Sans" panose="020B0503050203000203" pitchFamily="34" charset="0"/>
              </a:rPr>
              <a:t>CASB</a:t>
            </a:r>
          </a:p>
          <a:p>
            <a:r>
              <a:rPr lang="nl-NL">
                <a:solidFill>
                  <a:srgbClr val="183154"/>
                </a:solidFill>
                <a:latin typeface="IBM Plex Sans" panose="020B0503050203000203" pitchFamily="34" charset="0"/>
              </a:rPr>
              <a:t>Encryptie</a:t>
            </a:r>
          </a:p>
          <a:p>
            <a:r>
              <a:rPr lang="nl-NL">
                <a:solidFill>
                  <a:srgbClr val="183154"/>
                </a:solidFill>
                <a:latin typeface="IBM Plex Sans" panose="020B0503050203000203" pitchFamily="34" charset="0"/>
              </a:rPr>
              <a:t>IAM</a:t>
            </a:r>
          </a:p>
          <a:p>
            <a:r>
              <a:rPr lang="nl-NL">
                <a:solidFill>
                  <a:srgbClr val="183154"/>
                </a:solidFill>
                <a:latin typeface="IBM Plex Sans" panose="020B0503050203000203" pitchFamily="34" charset="0"/>
              </a:rPr>
              <a:t>DLP</a:t>
            </a:r>
          </a:p>
          <a:p>
            <a:r>
              <a:rPr lang="nl-NL" err="1">
                <a:solidFill>
                  <a:srgbClr val="183154"/>
                </a:solidFill>
                <a:latin typeface="IBM Plex Sans" panose="020B0503050203000203" pitchFamily="34" charset="0"/>
              </a:rPr>
              <a:t>NSaaS</a:t>
            </a:r>
            <a:endParaRPr lang="nl-NL">
              <a:solidFill>
                <a:srgbClr val="183154"/>
              </a:solidFill>
              <a:latin typeface="IBM Plex Sans" panose="020B0503050203000203" pitchFamily="34" charset="0"/>
            </a:endParaRPr>
          </a:p>
          <a:p>
            <a:endParaRPr lang="nl-NL">
              <a:solidFill>
                <a:srgbClr val="183154"/>
              </a:solidFill>
              <a:latin typeface="IBM Plex Sans" panose="020B0503050203000203" pitchFamily="34" charset="0"/>
            </a:endParaRPr>
          </a:p>
          <a:p>
            <a:endParaRPr lang="nl-NL">
              <a:solidFill>
                <a:srgbClr val="183154"/>
              </a:solidFill>
              <a:latin typeface="IBM Plex Sans" panose="020B0503050203000203" pitchFamily="34" charset="0"/>
            </a:endParaRPr>
          </a:p>
          <a:p>
            <a:endParaRPr lang="nl-NL">
              <a:solidFill>
                <a:srgbClr val="183154"/>
              </a:solidFill>
              <a:latin typeface="IBM Plex Sans" panose="020B0503050203000203" pitchFamily="34" charset="0"/>
            </a:endParaRPr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BCCDC9C6-4DBC-E865-6288-D793510698ED}"/>
              </a:ext>
            </a:extLst>
          </p:cNvPr>
          <p:cNvSpPr txBox="1"/>
          <p:nvPr/>
        </p:nvSpPr>
        <p:spPr>
          <a:xfrm>
            <a:off x="1683724" y="3185084"/>
            <a:ext cx="229091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NL">
                <a:solidFill>
                  <a:srgbClr val="183154"/>
                </a:solidFill>
                <a:latin typeface="IBM Plex Sans" panose="020B0503050203000203" pitchFamily="34" charset="0"/>
              </a:rPr>
              <a:t>SD-WAN</a:t>
            </a:r>
          </a:p>
          <a:p>
            <a:pPr algn="r"/>
            <a:r>
              <a:rPr lang="nl-NL">
                <a:solidFill>
                  <a:srgbClr val="183154"/>
                </a:solidFill>
                <a:latin typeface="IBM Plex Sans" panose="020B0503050203000203" pitchFamily="34" charset="0"/>
              </a:rPr>
              <a:t>Carriers</a:t>
            </a:r>
          </a:p>
          <a:p>
            <a:pPr algn="r"/>
            <a:r>
              <a:rPr lang="nl-NL">
                <a:solidFill>
                  <a:srgbClr val="183154"/>
                </a:solidFill>
                <a:latin typeface="IBM Plex Sans" panose="020B0503050203000203" pitchFamily="34" charset="0"/>
              </a:rPr>
              <a:t>Bandbreedte </a:t>
            </a:r>
            <a:r>
              <a:rPr lang="nl-NL" err="1">
                <a:solidFill>
                  <a:srgbClr val="183154"/>
                </a:solidFill>
                <a:latin typeface="IBM Plex Sans" panose="020B0503050203000203" pitchFamily="34" charset="0"/>
              </a:rPr>
              <a:t>Mgmt</a:t>
            </a:r>
            <a:endParaRPr lang="nl-NL">
              <a:solidFill>
                <a:srgbClr val="183154"/>
              </a:solidFill>
              <a:latin typeface="IBM Plex Sans" panose="020B0503050203000203" pitchFamily="34" charset="0"/>
            </a:endParaRPr>
          </a:p>
          <a:p>
            <a:pPr algn="r"/>
            <a:r>
              <a:rPr lang="nl-NL">
                <a:solidFill>
                  <a:srgbClr val="183154"/>
                </a:solidFill>
                <a:latin typeface="IBM Plex Sans" panose="020B0503050203000203" pitchFamily="34" charset="0"/>
              </a:rPr>
              <a:t>WAN </a:t>
            </a:r>
            <a:r>
              <a:rPr lang="nl-NL" err="1">
                <a:solidFill>
                  <a:srgbClr val="183154"/>
                </a:solidFill>
                <a:latin typeface="IBM Plex Sans" panose="020B0503050203000203" pitchFamily="34" charset="0"/>
              </a:rPr>
              <a:t>Optimization</a:t>
            </a:r>
            <a:endParaRPr lang="nl-NL">
              <a:solidFill>
                <a:srgbClr val="183154"/>
              </a:solidFill>
              <a:latin typeface="IBM Plex Sans" panose="020B0503050203000203" pitchFamily="34" charset="0"/>
            </a:endParaRPr>
          </a:p>
          <a:p>
            <a:pPr algn="r"/>
            <a:r>
              <a:rPr lang="nl-NL" err="1">
                <a:solidFill>
                  <a:srgbClr val="183154"/>
                </a:solidFill>
                <a:latin typeface="IBM Plex Sans" panose="020B0503050203000203" pitchFamily="34" charset="0"/>
              </a:rPr>
              <a:t>NaaS</a:t>
            </a:r>
            <a:endParaRPr lang="nl-NL">
              <a:solidFill>
                <a:srgbClr val="183154"/>
              </a:solidFill>
              <a:latin typeface="IBM Plex Sans" panose="020B0503050203000203" pitchFamily="34" charset="0"/>
            </a:endParaRPr>
          </a:p>
        </p:txBody>
      </p:sp>
      <p:sp>
        <p:nvSpPr>
          <p:cNvPr id="17" name="Rechthoek 16">
            <a:extLst>
              <a:ext uri="{FF2B5EF4-FFF2-40B4-BE49-F238E27FC236}">
                <a16:creationId xmlns:a16="http://schemas.microsoft.com/office/drawing/2014/main" id="{AFAAE928-9205-4F0B-9859-7D2910358D1A}"/>
              </a:ext>
            </a:extLst>
          </p:cNvPr>
          <p:cNvSpPr/>
          <p:nvPr/>
        </p:nvSpPr>
        <p:spPr>
          <a:xfrm>
            <a:off x="5476407" y="4355175"/>
            <a:ext cx="1098186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nl-NL" sz="3600" b="0" cap="none" spc="0">
                <a:ln w="0"/>
                <a:solidFill>
                  <a:srgbClr val="92D050"/>
                </a:solidFill>
              </a:rPr>
              <a:t>SASE</a:t>
            </a:r>
          </a:p>
        </p:txBody>
      </p:sp>
      <p:sp>
        <p:nvSpPr>
          <p:cNvPr id="20" name="Pijl: draaiend 19">
            <a:extLst>
              <a:ext uri="{FF2B5EF4-FFF2-40B4-BE49-F238E27FC236}">
                <a16:creationId xmlns:a16="http://schemas.microsoft.com/office/drawing/2014/main" id="{1629C00B-9B8C-EFD6-FD87-21512192017B}"/>
              </a:ext>
            </a:extLst>
          </p:cNvPr>
          <p:cNvSpPr/>
          <p:nvPr/>
        </p:nvSpPr>
        <p:spPr>
          <a:xfrm rot="16200000">
            <a:off x="5067415" y="3832257"/>
            <a:ext cx="1727030" cy="1710407"/>
          </a:xfrm>
          <a:prstGeom prst="circularArrow">
            <a:avLst>
              <a:gd name="adj1" fmla="val 11746"/>
              <a:gd name="adj2" fmla="val 1142319"/>
              <a:gd name="adj3" fmla="val 21097723"/>
              <a:gd name="adj4" fmla="val 10789229"/>
              <a:gd name="adj5" fmla="val 11835"/>
            </a:avLst>
          </a:prstGeom>
          <a:solidFill>
            <a:srgbClr val="18315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  <p:sp>
        <p:nvSpPr>
          <p:cNvPr id="22" name="Pijl: draaiend 21">
            <a:extLst>
              <a:ext uri="{FF2B5EF4-FFF2-40B4-BE49-F238E27FC236}">
                <a16:creationId xmlns:a16="http://schemas.microsoft.com/office/drawing/2014/main" id="{0CCF1A86-C306-54F5-C8B8-8A7A6BE1541D}"/>
              </a:ext>
            </a:extLst>
          </p:cNvPr>
          <p:cNvSpPr/>
          <p:nvPr/>
        </p:nvSpPr>
        <p:spPr>
          <a:xfrm rot="5400000">
            <a:off x="5256555" y="3832257"/>
            <a:ext cx="1727030" cy="1710407"/>
          </a:xfrm>
          <a:prstGeom prst="circularArrow">
            <a:avLst>
              <a:gd name="adj1" fmla="val 11746"/>
              <a:gd name="adj2" fmla="val 1142319"/>
              <a:gd name="adj3" fmla="val 21097723"/>
              <a:gd name="adj4" fmla="val 10789229"/>
              <a:gd name="adj5" fmla="val 11835"/>
            </a:avLst>
          </a:prstGeom>
          <a:solidFill>
            <a:srgbClr val="CC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55528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7 3.33333E-6 L 0.08932 0.00046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466" y="2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287 -0.00255 L -0.05807 -0.00255 " pathEditMode="relative" rAng="0" ptsTypes="AA">
                                      <p:cBhvr>
                                        <p:cTn id="8" dur="2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047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20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/>
      <p:bldP spid="15" grpId="0"/>
      <p:bldP spid="16" grpId="0"/>
      <p:bldP spid="17" grpId="0"/>
      <p:bldP spid="20" grpId="0" animBg="1"/>
      <p:bldP spid="2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0E637D7B-6175-3B3F-0A7E-8121021FDE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SASE </a:t>
            </a:r>
            <a:r>
              <a:rPr lang="en-US"/>
              <a:t>– Secure Access Service Edge</a:t>
            </a:r>
            <a:endParaRPr lang="nl-NL"/>
          </a:p>
        </p:txBody>
      </p: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CCE134E6-742C-5122-08D3-7EA2ECC746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800" y="1744376"/>
            <a:ext cx="6058044" cy="4513835"/>
          </a:xfrm>
          <a:prstGeom prst="rect">
            <a:avLst/>
          </a:prstGeom>
        </p:spPr>
      </p:pic>
      <p:sp>
        <p:nvSpPr>
          <p:cNvPr id="3" name="Tijdelijke aanduiding voor inhoud 8">
            <a:extLst>
              <a:ext uri="{FF2B5EF4-FFF2-40B4-BE49-F238E27FC236}">
                <a16:creationId xmlns:a16="http://schemas.microsoft.com/office/drawing/2014/main" id="{CA0B29AC-1CA6-44A9-278A-1998F580CCBF}"/>
              </a:ext>
            </a:extLst>
          </p:cNvPr>
          <p:cNvSpPr txBox="1">
            <a:spLocks/>
          </p:cNvSpPr>
          <p:nvPr/>
        </p:nvSpPr>
        <p:spPr>
          <a:xfrm>
            <a:off x="7071360" y="1906873"/>
            <a:ext cx="479145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2000"/>
              <a:t>Beveiliging en netwerkconnectiviteit in één geïntegreerd platform</a:t>
            </a:r>
          </a:p>
          <a:p>
            <a:r>
              <a:rPr lang="nl-NL" sz="2000"/>
              <a:t>Beveiligde (externe) toegang</a:t>
            </a:r>
          </a:p>
          <a:p>
            <a:r>
              <a:rPr lang="nl-NL" sz="2000"/>
              <a:t>Cloud-native beveiliging</a:t>
            </a:r>
          </a:p>
          <a:p>
            <a:r>
              <a:rPr lang="nl-NL" sz="2000"/>
              <a:t>Verbeterde netwerkprestaties en connectiviteit</a:t>
            </a:r>
          </a:p>
          <a:p>
            <a:r>
              <a:rPr lang="nl-NL" sz="2000"/>
              <a:t>Met behoud van de principes!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6A7588F4-51C1-2266-88D8-36202B5F82A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74959" y="4661727"/>
            <a:ext cx="1935650" cy="1956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9690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48BE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el 17">
            <a:extLst>
              <a:ext uri="{FF2B5EF4-FFF2-40B4-BE49-F238E27FC236}">
                <a16:creationId xmlns:a16="http://schemas.microsoft.com/office/drawing/2014/main" id="{2C51B7F7-982C-CA3F-1918-5E79FD4B5D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03653"/>
            <a:ext cx="6379464" cy="2573147"/>
          </a:xfrm>
        </p:spPr>
        <p:txBody>
          <a:bodyPr>
            <a:noAutofit/>
          </a:bodyPr>
          <a:lstStyle/>
          <a:p>
            <a:r>
              <a:rPr lang="en-US" sz="6600">
                <a:solidFill>
                  <a:schemeClr val="bg1"/>
                </a:solidFill>
              </a:rPr>
              <a:t>Secure Connectivity</a:t>
            </a:r>
            <a:endParaRPr lang="nl-NL" sz="6600">
              <a:solidFill>
                <a:schemeClr val="bg1"/>
              </a:solidFill>
            </a:endParaRPr>
          </a:p>
        </p:txBody>
      </p:sp>
      <p:sp>
        <p:nvSpPr>
          <p:cNvPr id="25" name="Ondertitel 12">
            <a:extLst>
              <a:ext uri="{FF2B5EF4-FFF2-40B4-BE49-F238E27FC236}">
                <a16:creationId xmlns:a16="http://schemas.microsoft.com/office/drawing/2014/main" id="{B8F44FE7-A39C-3B5D-69DD-87AAD7ADD378}"/>
              </a:ext>
            </a:extLst>
          </p:cNvPr>
          <p:cNvSpPr txBox="1">
            <a:spLocks/>
          </p:cNvSpPr>
          <p:nvPr/>
        </p:nvSpPr>
        <p:spPr>
          <a:xfrm>
            <a:off x="938784" y="4971891"/>
            <a:ext cx="7086600" cy="16557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IBM Plex Sans" panose="020B050305020300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1600">
                <a:solidFill>
                  <a:schemeClr val="bg1"/>
                </a:solidFill>
              </a:rPr>
              <a:t>CAMPUS</a:t>
            </a:r>
          </a:p>
          <a:p>
            <a:r>
              <a:rPr lang="nl-NL" sz="1600">
                <a:solidFill>
                  <a:schemeClr val="bg1"/>
                </a:solidFill>
              </a:rPr>
              <a:t>DATACENTER</a:t>
            </a:r>
          </a:p>
          <a:p>
            <a:r>
              <a:rPr lang="nl-NL" sz="1600">
                <a:solidFill>
                  <a:schemeClr val="bg1"/>
                </a:solidFill>
              </a:rPr>
              <a:t>MULTI-CLOUD</a:t>
            </a:r>
          </a:p>
        </p:txBody>
      </p:sp>
    </p:spTree>
    <p:extLst>
      <p:ext uri="{BB962C8B-B14F-4D97-AF65-F5344CB8AC3E}">
        <p14:creationId xmlns:p14="http://schemas.microsoft.com/office/powerpoint/2010/main" val="32189783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24FF7E2F-9C8E-D698-8699-01BF4B589C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8467437" cy="1325563"/>
          </a:xfrm>
        </p:spPr>
        <p:txBody>
          <a:bodyPr/>
          <a:lstStyle/>
          <a:p>
            <a:r>
              <a:rPr lang="nl-NL"/>
              <a:t>Secure Connectivity – Campus Wireless</a:t>
            </a:r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B6D0C2FE-102C-18F7-E53E-908643A08F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6375" y="1800416"/>
            <a:ext cx="9239250" cy="447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21211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6" descr="Chip makers go head to head over WiFi 7">
            <a:extLst>
              <a:ext uri="{FF2B5EF4-FFF2-40B4-BE49-F238E27FC236}">
                <a16:creationId xmlns:a16="http://schemas.microsoft.com/office/drawing/2014/main" id="{5CB78848-B62F-C5CB-2A33-C3E7FD0688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2949" y="2400300"/>
            <a:ext cx="3086100" cy="2057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549853A5-7602-3F7B-C7C0-E4DE51D83B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8472055" cy="1325563"/>
          </a:xfrm>
        </p:spPr>
        <p:txBody>
          <a:bodyPr/>
          <a:lstStyle/>
          <a:p>
            <a:r>
              <a:rPr lang="nl-NL"/>
              <a:t>Secure Connectivity – Campus Wireless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CE1B0268-3D52-12B6-C0BA-3977C79BA72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38362" y="1897141"/>
            <a:ext cx="7915275" cy="4153623"/>
          </a:xfrm>
          <a:prstGeom prst="rect">
            <a:avLst/>
          </a:prstGeom>
        </p:spPr>
      </p:pic>
      <p:sp>
        <p:nvSpPr>
          <p:cNvPr id="7" name="Ovaal 6">
            <a:extLst>
              <a:ext uri="{FF2B5EF4-FFF2-40B4-BE49-F238E27FC236}">
                <a16:creationId xmlns:a16="http://schemas.microsoft.com/office/drawing/2014/main" id="{E6BB12B6-7CF7-A8E7-CE0F-B2BD05FF3E9D}"/>
              </a:ext>
            </a:extLst>
          </p:cNvPr>
          <p:cNvSpPr/>
          <p:nvPr/>
        </p:nvSpPr>
        <p:spPr>
          <a:xfrm>
            <a:off x="7467600" y="3752850"/>
            <a:ext cx="1095375" cy="29527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Ovaal 7">
            <a:extLst>
              <a:ext uri="{FF2B5EF4-FFF2-40B4-BE49-F238E27FC236}">
                <a16:creationId xmlns:a16="http://schemas.microsoft.com/office/drawing/2014/main" id="{C6FF49EC-D16A-EE22-5DC0-84420C486248}"/>
              </a:ext>
            </a:extLst>
          </p:cNvPr>
          <p:cNvSpPr/>
          <p:nvPr/>
        </p:nvSpPr>
        <p:spPr>
          <a:xfrm>
            <a:off x="8760618" y="3752850"/>
            <a:ext cx="1095375" cy="29527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" name="Ovaal 2">
            <a:extLst>
              <a:ext uri="{FF2B5EF4-FFF2-40B4-BE49-F238E27FC236}">
                <a16:creationId xmlns:a16="http://schemas.microsoft.com/office/drawing/2014/main" id="{432B18D6-8223-3062-F2D8-3C32384B2437}"/>
              </a:ext>
            </a:extLst>
          </p:cNvPr>
          <p:cNvSpPr/>
          <p:nvPr/>
        </p:nvSpPr>
        <p:spPr>
          <a:xfrm>
            <a:off x="7467600" y="4528271"/>
            <a:ext cx="1095375" cy="29527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4" name="Ovaal 3">
            <a:extLst>
              <a:ext uri="{FF2B5EF4-FFF2-40B4-BE49-F238E27FC236}">
                <a16:creationId xmlns:a16="http://schemas.microsoft.com/office/drawing/2014/main" id="{1BA4669B-B59A-85E4-1AB5-125B27D1D14E}"/>
              </a:ext>
            </a:extLst>
          </p:cNvPr>
          <p:cNvSpPr/>
          <p:nvPr/>
        </p:nvSpPr>
        <p:spPr>
          <a:xfrm>
            <a:off x="8760618" y="4528271"/>
            <a:ext cx="1095375" cy="29527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5" name="Ovaal 4">
            <a:extLst>
              <a:ext uri="{FF2B5EF4-FFF2-40B4-BE49-F238E27FC236}">
                <a16:creationId xmlns:a16="http://schemas.microsoft.com/office/drawing/2014/main" id="{D523642C-84AD-55B8-C6B2-C994957C841D}"/>
              </a:ext>
            </a:extLst>
          </p:cNvPr>
          <p:cNvSpPr/>
          <p:nvPr/>
        </p:nvSpPr>
        <p:spPr>
          <a:xfrm>
            <a:off x="7469268" y="3343945"/>
            <a:ext cx="1095375" cy="29527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Ovaal 8">
            <a:extLst>
              <a:ext uri="{FF2B5EF4-FFF2-40B4-BE49-F238E27FC236}">
                <a16:creationId xmlns:a16="http://schemas.microsoft.com/office/drawing/2014/main" id="{672612D8-EDC2-681E-6572-B62B49A0AD57}"/>
              </a:ext>
            </a:extLst>
          </p:cNvPr>
          <p:cNvSpPr/>
          <p:nvPr/>
        </p:nvSpPr>
        <p:spPr>
          <a:xfrm>
            <a:off x="8762286" y="3343945"/>
            <a:ext cx="1095375" cy="29527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0D26314B-FDFE-4C7F-E90A-BC26D894D5F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16361" y="2618509"/>
            <a:ext cx="5265195" cy="3176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868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7" grpId="1" animBg="1"/>
      <p:bldP spid="8" grpId="0" animBg="1"/>
      <p:bldP spid="8" grpId="1" animBg="1"/>
      <p:bldP spid="3" grpId="0" animBg="1"/>
      <p:bldP spid="3" grpId="1" animBg="1"/>
      <p:bldP spid="4" grpId="0" animBg="1"/>
      <p:bldP spid="4" grpId="1" animBg="1"/>
      <p:bldP spid="5" grpId="0" animBg="1"/>
      <p:bldP spid="5" grpId="1" animBg="1"/>
      <p:bldP spid="9" grpId="0" animBg="1"/>
      <p:bldP spid="9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-tema">
  <a:themeElements>
    <a:clrScheme name="Conscia">
      <a:dk1>
        <a:srgbClr val="000000"/>
      </a:dk1>
      <a:lt1>
        <a:srgbClr val="FFFFFF"/>
      </a:lt1>
      <a:dk2>
        <a:srgbClr val="033258"/>
      </a:dk2>
      <a:lt2>
        <a:srgbClr val="F4F7FC"/>
      </a:lt2>
      <a:accent1>
        <a:srgbClr val="248DD8"/>
      </a:accent1>
      <a:accent2>
        <a:srgbClr val="AAD4F3"/>
      </a:accent2>
      <a:accent3>
        <a:srgbClr val="525F6A"/>
      </a:accent3>
      <a:accent4>
        <a:srgbClr val="2FC0B2"/>
      </a:accent4>
      <a:accent5>
        <a:srgbClr val="FF9655"/>
      </a:accent5>
      <a:accent6>
        <a:srgbClr val="6559A2"/>
      </a:accent6>
      <a:hlink>
        <a:srgbClr val="248DD8"/>
      </a:hlink>
      <a:folHlink>
        <a:srgbClr val="248DD8"/>
      </a:folHlink>
    </a:clrScheme>
    <a:fontScheme name="Conscia">
      <a:majorFont>
        <a:latin typeface="IBM Plex Sans Light"/>
        <a:ea typeface=""/>
        <a:cs typeface=""/>
      </a:majorFont>
      <a:minorFont>
        <a:latin typeface="IBM Plex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solidFill>
          <a:srgbClr val="8A2E4F">
            <a:alpha val="64999"/>
          </a:srgbClr>
        </a:solidFill>
        <a:ln w="6350" cap="rnd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/>
  <a:extLst>
    <a:ext uri="{05A4C25C-085E-4340-85A3-A5531E510DB2}">
      <thm15:themeFamily xmlns:thm15="http://schemas.microsoft.com/office/thememl/2012/main" name="Group-General-2021.potx" id="{F4A855EE-4925-4732-B731-F463BACCD8D7}" vid="{4242BFE8-AC2F-4EC1-B0EE-EBCFA7911F82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ron xmlns="b17d7f08-b855-4866-919b-4575c8504097" xsi:nil="true"/>
    <Image xmlns="b17d7f08-b855-4866-919b-4575c8504097" xsi:nil="true"/>
    <TaxCatchAll xmlns="e156b133-98be-4725-a9e4-ad71208d6116" xsi:nil="true"/>
    <lcf76f155ced4ddcb4097134ff3c332f xmlns="b17d7f08-b855-4866-919b-4575c8504097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6E314CC893234AB4683223D2098766" ma:contentTypeVersion="19" ma:contentTypeDescription="Een nieuw document maken." ma:contentTypeScope="" ma:versionID="9333c63e78d6a5d78873153ab2103d4d">
  <xsd:schema xmlns:xsd="http://www.w3.org/2001/XMLSchema" xmlns:xs="http://www.w3.org/2001/XMLSchema" xmlns:p="http://schemas.microsoft.com/office/2006/metadata/properties" xmlns:ns2="e156b133-98be-4725-a9e4-ad71208d6116" xmlns:ns3="b17d7f08-b855-4866-919b-4575c8504097" targetNamespace="http://schemas.microsoft.com/office/2006/metadata/properties" ma:root="true" ma:fieldsID="6de08dc49ede44e66431904dedfb04fa" ns2:_="" ns3:_="">
    <xsd:import namespace="e156b133-98be-4725-a9e4-ad71208d6116"/>
    <xsd:import namespace="b17d7f08-b855-4866-919b-4575c8504097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Bron" minOccurs="0"/>
                <xsd:element ref="ns3:lcf76f155ced4ddcb4097134ff3c332f" minOccurs="0"/>
                <xsd:element ref="ns2:TaxCatchAll" minOccurs="0"/>
                <xsd:element ref="ns3:MediaServiceLocation" minOccurs="0"/>
                <xsd:element ref="ns3:Image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56b133-98be-4725-a9e4-ad71208d611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f7acd9b-7ff6-4c98-b50b-1a8a53bb9b14}" ma:internalName="TaxCatchAll" ma:showField="CatchAllData" ma:web="e156b133-98be-4725-a9e4-ad71208d611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7d7f08-b855-4866-919b-4575c850409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Bron" ma:index="20" nillable="true" ma:displayName="Bron" ma:format="Dropdown" ma:internalName="Bron">
      <xsd:simpleType>
        <xsd:restriction base="dms:Text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Afbeeldingtags" ma:readOnly="false" ma:fieldId="{5cf76f15-5ced-4ddc-b409-7134ff3c332f}" ma:taxonomyMulti="true" ma:sspId="360606b3-7a2b-4258-ab95-67a3532a255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4" nillable="true" ma:displayName="Location" ma:internalName="MediaServiceLocation" ma:readOnly="true">
      <xsd:simpleType>
        <xsd:restriction base="dms:Text"/>
      </xsd:simpleType>
    </xsd:element>
    <xsd:element name="Image" ma:index="25" nillable="true" ma:displayName="Image" ma:format="Thumbnail" ma:internalName="Image">
      <xsd:simpleType>
        <xsd:restriction base="dms:Unknown"/>
      </xsd:simple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831722A-9E9E-4C92-9311-DF250C4B91F7}">
  <ds:schemaRefs>
    <ds:schemaRef ds:uri="b17d7f08-b855-4866-919b-4575c8504097"/>
    <ds:schemaRef ds:uri="cdda2e96-263e-4fa6-a6ab-4a310c59979c"/>
    <ds:schemaRef ds:uri="e156b133-98be-4725-a9e4-ad71208d611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0D49765-ECB3-40F9-AC9F-D66101F0E426}">
  <ds:schemaRefs>
    <ds:schemaRef ds:uri="b17d7f08-b855-4866-919b-4575c8504097"/>
    <ds:schemaRef ds:uri="e156b133-98be-4725-a9e4-ad71208d611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1E92871-8DD0-475D-BC80-D57E5398C66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24</Slides>
  <Notes>17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4</vt:i4>
      </vt:variant>
    </vt:vector>
  </HeadingPairs>
  <TitlesOfParts>
    <vt:vector size="26" baseType="lpstr">
      <vt:lpstr>Kantoorthema</vt:lpstr>
      <vt:lpstr>1_Office-tema</vt:lpstr>
      <vt:lpstr>Welkom!</vt:lpstr>
      <vt:lpstr>Trends</vt:lpstr>
      <vt:lpstr>Secure Access Service Edge</vt:lpstr>
      <vt:lpstr>Meerjarige  ontwikkeling  Netwerk- architectuur</vt:lpstr>
      <vt:lpstr>PowerPoint Presentation</vt:lpstr>
      <vt:lpstr>SASE – Secure Access Service Edge</vt:lpstr>
      <vt:lpstr>Secure Connectivity</vt:lpstr>
      <vt:lpstr>Secure Connectivity – Campus Wireless</vt:lpstr>
      <vt:lpstr>Secure Connectivity – Campus Wireless</vt:lpstr>
      <vt:lpstr>PowerPoint Presentation</vt:lpstr>
      <vt:lpstr>Secure Connectivity – Campus Lan</vt:lpstr>
      <vt:lpstr>PowerPoint Presentation</vt:lpstr>
      <vt:lpstr>Secure Connectivity - Datacenter</vt:lpstr>
      <vt:lpstr>Secure Connectivity - Datacenter</vt:lpstr>
      <vt:lpstr>Secure Connectivity - Datacenter</vt:lpstr>
      <vt:lpstr>Secure Connectivity – Het grotere plaatje</vt:lpstr>
      <vt:lpstr>PowerPoint Presentation</vt:lpstr>
      <vt:lpstr>Inzicht</vt:lpstr>
      <vt:lpstr>Inzicht</vt:lpstr>
      <vt:lpstr>PowerPoint Presentation</vt:lpstr>
      <vt:lpstr>Sustainability</vt:lpstr>
      <vt:lpstr>Sustainability</vt:lpstr>
      <vt:lpstr>Samenvattend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Max van Dam</dc:creator>
  <cp:revision>1</cp:revision>
  <dcterms:created xsi:type="dcterms:W3CDTF">2023-06-05T08:21:20Z</dcterms:created>
  <dcterms:modified xsi:type="dcterms:W3CDTF">2023-09-20T14:46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2f4dc5f-dd59-42d3-ad70-31bc3246af1a_Enabled">
    <vt:lpwstr>true</vt:lpwstr>
  </property>
  <property fmtid="{D5CDD505-2E9C-101B-9397-08002B2CF9AE}" pid="3" name="MSIP_Label_72f4dc5f-dd59-42d3-ad70-31bc3246af1a_SetDate">
    <vt:lpwstr>2023-08-09T13:21:28Z</vt:lpwstr>
  </property>
  <property fmtid="{D5CDD505-2E9C-101B-9397-08002B2CF9AE}" pid="4" name="MSIP_Label_72f4dc5f-dd59-42d3-ad70-31bc3246af1a_Method">
    <vt:lpwstr>Privileged</vt:lpwstr>
  </property>
  <property fmtid="{D5CDD505-2E9C-101B-9397-08002B2CF9AE}" pid="5" name="MSIP_Label_72f4dc5f-dd59-42d3-ad70-31bc3246af1a_Name">
    <vt:lpwstr>Public-footer</vt:lpwstr>
  </property>
  <property fmtid="{D5CDD505-2E9C-101B-9397-08002B2CF9AE}" pid="6" name="MSIP_Label_72f4dc5f-dd59-42d3-ad70-31bc3246af1a_SiteId">
    <vt:lpwstr>01e16f79-1680-4f82-993b-e74a1f3c6c85</vt:lpwstr>
  </property>
  <property fmtid="{D5CDD505-2E9C-101B-9397-08002B2CF9AE}" pid="7" name="MSIP_Label_72f4dc5f-dd59-42d3-ad70-31bc3246af1a_ActionId">
    <vt:lpwstr>94f87498-769c-4c29-80ac-486d469070a5</vt:lpwstr>
  </property>
  <property fmtid="{D5CDD505-2E9C-101B-9397-08002B2CF9AE}" pid="8" name="MSIP_Label_72f4dc5f-dd59-42d3-ad70-31bc3246af1a_ContentBits">
    <vt:lpwstr>2</vt:lpwstr>
  </property>
  <property fmtid="{D5CDD505-2E9C-101B-9397-08002B2CF9AE}" pid="9" name="ClassificationContentMarkingFooterLocations">
    <vt:lpwstr>Kantoorthema:8</vt:lpwstr>
  </property>
  <property fmtid="{D5CDD505-2E9C-101B-9397-08002B2CF9AE}" pid="10" name="ClassificationContentMarkingFooterText">
    <vt:lpwstr>Conscia Sensitivity Classification: Public</vt:lpwstr>
  </property>
  <property fmtid="{D5CDD505-2E9C-101B-9397-08002B2CF9AE}" pid="11" name="ContentTypeId">
    <vt:lpwstr>0x0101000E054DAF380CDE4DA41779EE226AEBEE</vt:lpwstr>
  </property>
  <property fmtid="{D5CDD505-2E9C-101B-9397-08002B2CF9AE}" pid="12" name="MediaServiceImageTags">
    <vt:lpwstr/>
  </property>
</Properties>
</file>